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29"/>
  </p:notesMasterIdLst>
  <p:sldIdLst>
    <p:sldId id="772" r:id="rId2"/>
    <p:sldId id="820" r:id="rId3"/>
    <p:sldId id="819" r:id="rId4"/>
    <p:sldId id="821" r:id="rId5"/>
    <p:sldId id="795" r:id="rId6"/>
    <p:sldId id="796" r:id="rId7"/>
    <p:sldId id="797" r:id="rId8"/>
    <p:sldId id="2927" r:id="rId9"/>
    <p:sldId id="2928" r:id="rId10"/>
    <p:sldId id="822" r:id="rId11"/>
    <p:sldId id="798" r:id="rId12"/>
    <p:sldId id="799" r:id="rId13"/>
    <p:sldId id="800" r:id="rId14"/>
    <p:sldId id="802" r:id="rId15"/>
    <p:sldId id="804" r:id="rId16"/>
    <p:sldId id="823" r:id="rId17"/>
    <p:sldId id="805" r:id="rId18"/>
    <p:sldId id="824" r:id="rId19"/>
    <p:sldId id="2923" r:id="rId20"/>
    <p:sldId id="2926" r:id="rId21"/>
    <p:sldId id="803" r:id="rId22"/>
    <p:sldId id="2924" r:id="rId23"/>
    <p:sldId id="808" r:id="rId24"/>
    <p:sldId id="810" r:id="rId25"/>
    <p:sldId id="809" r:id="rId26"/>
    <p:sldId id="887" r:id="rId27"/>
    <p:sldId id="778" r:id="rId28"/>
  </p:sldIdLst>
  <p:sldSz cx="12192000" cy="6858000"/>
  <p:notesSz cx="6797675" cy="9926638"/>
  <p:custDataLst>
    <p:tags r:id="rId30"/>
  </p:custDataLst>
  <p:defaultTextStyle>
    <a:defPPr>
      <a:defRPr lang="zh-CN"/>
    </a:defPPr>
    <a:lvl1pPr marL="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16">
          <p15:clr>
            <a:srgbClr val="A4A3A4"/>
          </p15:clr>
        </p15:guide>
        <p15:guide id="2" pos="381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gw0500209" initials="kxg" lastIdx="1" clrIdx="0"/>
  <p:cmAuthor id="1" name="dengchao" initials="d" lastIdx="3" clrIdx="0"/>
  <p:cmAuthor id="2" name="张岩兴" initials="张岩兴" lastIdx="12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9AEB2"/>
    <a:srgbClr val="D6E9EA"/>
    <a:srgbClr val="FF8C00"/>
    <a:srgbClr val="000099"/>
    <a:srgbClr val="7F7F7F"/>
    <a:srgbClr val="082247"/>
    <a:srgbClr val="C2C0C1"/>
    <a:srgbClr val="072146"/>
    <a:srgbClr val="9C9C9D"/>
    <a:srgbClr val="F6F7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A107856-5554-42FB-B03E-39F5DBC370BA}" styleName="中度样式 4 - 强调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983" autoAdjust="0"/>
    <p:restoredTop sz="90862" autoAdjust="0"/>
  </p:normalViewPr>
  <p:slideViewPr>
    <p:cSldViewPr snapToGrid="0">
      <p:cViewPr varScale="1">
        <p:scale>
          <a:sx n="93" d="100"/>
          <a:sy n="93" d="100"/>
        </p:scale>
        <p:origin x="77" y="125"/>
      </p:cViewPr>
      <p:guideLst>
        <p:guide orient="horz" pos="2216"/>
        <p:guide pos="381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748" y="4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8056"/>
          </a:xfrm>
          <a:prstGeom prst="rect">
            <a:avLst/>
          </a:prstGeom>
        </p:spPr>
        <p:txBody>
          <a:bodyPr vert="horz" lIns="91295" tIns="45648" rIns="91295" bIns="45648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295" tIns="45648" rIns="91295" bIns="45648" rtlCol="0"/>
          <a:lstStyle>
            <a:lvl1pPr algn="r">
              <a:defRPr sz="1200"/>
            </a:lvl1pPr>
          </a:lstStyle>
          <a:p>
            <a:fld id="{432274C5-6EC4-4FA0-B7E5-01BED7D27F31}" type="datetimeFigureOut">
              <a:rPr lang="zh-CN" altLang="en-US" smtClean="0"/>
              <a:t>2025/1/2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95" tIns="45648" rIns="91295" bIns="45648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3"/>
          </a:xfrm>
          <a:prstGeom prst="rect">
            <a:avLst/>
          </a:prstGeom>
        </p:spPr>
        <p:txBody>
          <a:bodyPr vert="horz" lIns="91295" tIns="45648" rIns="91295" bIns="45648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2" y="9428584"/>
            <a:ext cx="2945659" cy="498055"/>
          </a:xfrm>
          <a:prstGeom prst="rect">
            <a:avLst/>
          </a:prstGeom>
        </p:spPr>
        <p:txBody>
          <a:bodyPr vert="horz" lIns="91295" tIns="45648" rIns="91295" bIns="45648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295" tIns="45648" rIns="91295" bIns="45648" rtlCol="0" anchor="b"/>
          <a:lstStyle>
            <a:lvl1pPr algn="r">
              <a:defRPr sz="1200"/>
            </a:lvl1pPr>
          </a:lstStyle>
          <a:p>
            <a:fld id="{3ACD9FEE-60D2-4A8E-8D8E-6E095DCD644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698404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696312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788373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/>
          </p:nvPr>
        </p:nvSpPr>
        <p:spPr>
          <a:xfrm>
            <a:off x="496369" y="211301"/>
            <a:ext cx="10515600" cy="48945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72146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090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0" y="6"/>
          <a:ext cx="211139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8255" imgH="8255" progId="">
                  <p:embed/>
                </p:oleObj>
              </mc:Choice>
              <mc:Fallback>
                <p:oleObj name="think-cell Slide" r:id="rId3" imgW="8255" imgH="8255" progId="">
                  <p:embed/>
                  <p:pic>
                    <p:nvPicPr>
                      <p:cNvPr id="0" name="图片 733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6"/>
                        <a:ext cx="211139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Box 7"/>
          <p:cNvSpPr txBox="1">
            <a:spLocks noChangeArrowheads="1"/>
          </p:cNvSpPr>
          <p:nvPr userDrawn="1"/>
        </p:nvSpPr>
        <p:spPr bwMode="auto">
          <a:xfrm>
            <a:off x="5" y="6469069"/>
            <a:ext cx="2786063" cy="282500"/>
          </a:xfrm>
          <a:prstGeom prst="rect">
            <a:avLst/>
          </a:prstGeom>
          <a:noFill/>
          <a:ln>
            <a:noFill/>
          </a:ln>
          <a:effectLst/>
        </p:spPr>
        <p:txBody>
          <a:bodyPr lIns="96891" tIns="48444" rIns="96891" bIns="48444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ts val="0"/>
              </a:spcBef>
              <a:defRPr/>
            </a:pPr>
            <a:r>
              <a:rPr lang="zh-CN" altLang="en-US" sz="12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逐梦世界  行稳致远</a:t>
            </a:r>
          </a:p>
        </p:txBody>
      </p:sp>
      <p:cxnSp>
        <p:nvCxnSpPr>
          <p:cNvPr id="10" name="直接连接符 9"/>
          <p:cNvCxnSpPr/>
          <p:nvPr userDrawn="1"/>
        </p:nvCxnSpPr>
        <p:spPr>
          <a:xfrm>
            <a:off x="222963" y="754992"/>
            <a:ext cx="11748556" cy="0"/>
          </a:xfrm>
          <a:prstGeom prst="line">
            <a:avLst/>
          </a:prstGeom>
          <a:ln w="19050">
            <a:solidFill>
              <a:srgbClr val="8A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2"/>
          <p:cNvCxnSpPr/>
          <p:nvPr userDrawn="1"/>
        </p:nvCxnSpPr>
        <p:spPr bwMode="auto">
          <a:xfrm>
            <a:off x="370419" y="0"/>
            <a:ext cx="0" cy="68580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4" name="直接连接符 13"/>
          <p:cNvCxnSpPr/>
          <p:nvPr userDrawn="1"/>
        </p:nvCxnSpPr>
        <p:spPr bwMode="auto">
          <a:xfrm>
            <a:off x="11815897" y="-4504"/>
            <a:ext cx="0" cy="68580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5" name="直接连接符 14"/>
          <p:cNvCxnSpPr/>
          <p:nvPr userDrawn="1"/>
        </p:nvCxnSpPr>
        <p:spPr>
          <a:xfrm>
            <a:off x="456002" y="0"/>
            <a:ext cx="0" cy="685800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/>
          <p:cNvCxnSpPr/>
          <p:nvPr userDrawn="1"/>
        </p:nvCxnSpPr>
        <p:spPr>
          <a:xfrm>
            <a:off x="11719194" y="22998"/>
            <a:ext cx="0" cy="685800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jpeg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blipFill>
            <a:blip r:embed="rId6"/>
            <a:tile tx="0" ty="0" sx="100000" sy="100000" flip="none" algn="tl"/>
          </a:blipFill>
        </p:spPr>
      </p:pic>
      <p:pic>
        <p:nvPicPr>
          <p:cNvPr id="6" name="图片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灯片编号占位符 3"/>
          <p:cNvSpPr txBox="1"/>
          <p:nvPr userDrawn="1"/>
        </p:nvSpPr>
        <p:spPr>
          <a:xfrm>
            <a:off x="10101877" y="6572415"/>
            <a:ext cx="1296491" cy="305905"/>
          </a:xfrm>
          <a:prstGeom prst="rect">
            <a:avLst/>
          </a:prstGeom>
        </p:spPr>
        <p:txBody>
          <a:bodyPr lIns="0" tIns="0" rIns="0" bIns="0"/>
          <a:lstStyle>
            <a:lvl1pPr>
              <a:defRPr sz="11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900" b="0" kern="1200" dirty="0">
                <a:solidFill>
                  <a:srgbClr val="07214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Page </a:t>
            </a:r>
            <a:fld id="{21F5993E-B9C5-4D16-88AE-527C863CF041}" type="slidenum">
              <a:rPr lang="zh-CN" altLang="en-US" sz="900" b="0" kern="1200" smtClean="0">
                <a:solidFill>
                  <a:srgbClr val="07214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‹#›</a:t>
            </a:fld>
            <a:r>
              <a:rPr lang="zh-CN" altLang="en-US" sz="900" b="0" kern="1200" dirty="0">
                <a:solidFill>
                  <a:srgbClr val="07214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  </a:t>
            </a:r>
          </a:p>
        </p:txBody>
      </p:sp>
      <p:sp>
        <p:nvSpPr>
          <p:cNvPr id="15" name="文本框 14"/>
          <p:cNvSpPr txBox="1"/>
          <p:nvPr userDrawn="1"/>
        </p:nvSpPr>
        <p:spPr>
          <a:xfrm>
            <a:off x="10851722" y="6492911"/>
            <a:ext cx="914400" cy="279887"/>
          </a:xfrm>
          <a:prstGeom prst="rect">
            <a:avLst/>
          </a:prstGeom>
        </p:spPr>
        <p:txBody>
          <a:bodyPr vert="horz" wrap="none" lIns="36000" tIns="36000" rIns="36000" bIns="36000" rtlCol="0" anchor="t" anchorCtr="0">
            <a:noAutofit/>
          </a:bodyPr>
          <a:lstStyle/>
          <a:p>
            <a:pPr algn="r" defTabSz="914400">
              <a:lnSpc>
                <a:spcPct val="150000"/>
              </a:lnSpc>
              <a:spcBef>
                <a:spcPct val="0"/>
              </a:spcBef>
            </a:pPr>
            <a:r>
              <a:rPr lang="en-US" altLang="zh-CN" sz="900" b="0" dirty="0">
                <a:solidFill>
                  <a:srgbClr val="07214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/ </a:t>
            </a:r>
            <a:r>
              <a:rPr lang="ru-RU" altLang="zh-CN" sz="900" b="0" dirty="0">
                <a:solidFill>
                  <a:srgbClr val="07214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2</a:t>
            </a:r>
            <a:endParaRPr lang="zh-CN" altLang="en-US" sz="900" b="0" dirty="0">
              <a:solidFill>
                <a:srgbClr val="07214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3" name="直接连接符 2"/>
          <p:cNvCxnSpPr/>
          <p:nvPr userDrawn="1"/>
        </p:nvCxnSpPr>
        <p:spPr>
          <a:xfrm>
            <a:off x="2347275" y="6638403"/>
            <a:ext cx="835214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  <p:sldLayoutId id="2147483656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5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685800" indent="-228600" algn="l" defTabSz="914400" rtl="0" eaLnBrk="1" latinLnBrk="0" hangingPunct="1">
        <a:lnSpc>
          <a:spcPct val="150000"/>
        </a:lnSpc>
        <a:spcBef>
          <a:spcPts val="500"/>
        </a:spcBef>
        <a:buFont typeface="Wingdings" panose="05000000000000000000" pitchFamily="2" charset="2"/>
        <a:buChar char="Ø"/>
        <a:defRPr sz="2400" kern="120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2pPr>
      <a:lvl3pPr marL="1143000" indent="-228600" algn="l" defTabSz="914400" rtl="0" eaLnBrk="1" latinLnBrk="0" hangingPunct="1">
        <a:lnSpc>
          <a:spcPct val="15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3pPr>
      <a:lvl4pPr marL="1600200" indent="-228600" algn="l" defTabSz="914400" rtl="0" eaLnBrk="1" latinLnBrk="0" hangingPunct="1">
        <a:lnSpc>
          <a:spcPct val="150000"/>
        </a:lnSpc>
        <a:spcBef>
          <a:spcPts val="500"/>
        </a:spcBef>
        <a:buFont typeface="Wingdings" panose="05000000000000000000" pitchFamily="2" charset="2"/>
        <a:buChar char="Ø"/>
        <a:defRPr sz="1900" kern="120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4pPr>
      <a:lvl5pPr marL="2057400" indent="-228600" algn="l" defTabSz="914400" rtl="0" eaLnBrk="1" latinLnBrk="0" hangingPunct="1">
        <a:lnSpc>
          <a:spcPct val="15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411833" y="2327836"/>
            <a:ext cx="1135118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altLang="zh-CN" sz="4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ЗАЯВКА НА ДИЛЕРСТВО ОТ КАНДИДАТА</a:t>
            </a:r>
            <a:endParaRPr lang="en-US" altLang="zh-CN" sz="4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3" name="표 11">
            <a:extLst>
              <a:ext uri="{FF2B5EF4-FFF2-40B4-BE49-F238E27FC236}">
                <a16:creationId xmlns:a16="http://schemas.microsoft.com/office/drawing/2014/main" id="{C949614B-7C1A-C05E-C78A-D193033DB6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0430640"/>
              </p:ext>
            </p:extLst>
          </p:nvPr>
        </p:nvGraphicFramePr>
        <p:xfrm>
          <a:off x="779148" y="4271509"/>
          <a:ext cx="6347734" cy="1584176"/>
        </p:xfrm>
        <a:graphic>
          <a:graphicData uri="http://schemas.openxmlformats.org/drawingml/2006/table">
            <a:tbl>
              <a:tblPr/>
              <a:tblGrid>
                <a:gridCol w="21864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612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4874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Arial Unicode MS" panose="020B0604020202020204" pitchFamily="34" charset="-128"/>
                        </a:rPr>
                        <a:t>Компания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endParaRPr kumimoji="0" 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Arial Unicode MS" panose="020B060402020202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265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Arial Unicode MS" panose="020B0604020202020204" pitchFamily="34" charset="-128"/>
                        </a:rPr>
                        <a:t>Город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endParaRPr kumimoji="0" 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Arial Unicode MS" panose="020B060402020202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277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Arial Unicode MS" panose="020B0604020202020204" pitchFamily="34" charset="-128"/>
                        </a:rPr>
                        <a:t>Дата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Arial Unicode MS" panose="020B060402020202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431373" y="160231"/>
            <a:ext cx="11137237" cy="57148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ДАННЫЕ ПО СУЩЕСТВУЮЩЕМУ БИЗНЕСУ</a:t>
            </a:r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DD3F310D-8723-3598-948F-130C4FD216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2657527"/>
              </p:ext>
            </p:extLst>
          </p:nvPr>
        </p:nvGraphicFramePr>
        <p:xfrm>
          <a:off x="691406" y="776256"/>
          <a:ext cx="10670500" cy="5751003"/>
        </p:xfrm>
        <a:graphic>
          <a:graphicData uri="http://schemas.openxmlformats.org/drawingml/2006/table">
            <a:tbl>
              <a:tblPr/>
              <a:tblGrid>
                <a:gridCol w="18042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698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7049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3510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9087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44564">
                <a:tc gridSpan="5"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Финансовые показатели за три предшествующих года </a:t>
                      </a: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5937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1135" marR="1135" marT="113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Итого 20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2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Итого 202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Итого 202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8030">
                <a:tc rowSpan="9"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Основные показатели деятельности по продаже автомобилей</a:t>
                      </a:r>
                    </a:p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1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Итого объем продаж (штук), в том числе: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4875">
                <a:tc vMerge="1"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Основные показатели деятельности по продаже автомобилей</a:t>
                      </a: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1.1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Объем продаж (штук), новые</a:t>
                      </a:r>
                    </a:p>
                  </a:txBody>
                  <a:tcPr marL="1135" marR="1135" marT="113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9050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1.2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Объем продаж (штук), с пробегом/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rade-in</a:t>
                      </a: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3821">
                <a:tc vMerge="1"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2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Итого выручка от продаж (</a:t>
                      </a:r>
                      <a:r>
                        <a:rPr lang="ru-RU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млн,руб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, в том числе: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38030">
                <a:tc vMerge="1"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2.1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Выручка от продаж (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млн,руб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 новые</a:t>
                      </a: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17374">
                <a:tc vMerge="1"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2.2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Выручка от продаж (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млн,руб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 с пробегом/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rade-in</a:t>
                      </a: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90926">
                <a:tc vMerge="1"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3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Итого прибыль от продаж (</a:t>
                      </a:r>
                      <a:r>
                        <a:rPr lang="ru-RU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млн,руб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: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38030">
                <a:tc vMerge="1"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3.1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Прибыль от продаж (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млн,руб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 новые</a:t>
                      </a: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18576">
                <a:tc vMerge="1"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3.2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Прибыль от продаж (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млн,руб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 с пробегом/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rade-in</a:t>
                      </a: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67693"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Основные показатели деятельности по ремонту</a:t>
                      </a:r>
                    </a:p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1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Количество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машинозаездов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раз)</a:t>
                      </a: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30960">
                <a:tc vMerge="1"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Основные показатели деятельности по ремонту</a:t>
                      </a: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3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Выручка по услуге ремонта (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млн,руб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18576">
                <a:tc vMerge="1"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4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Прибыль от услуг по ремонту (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млн,руб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43821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.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Основные показатели деятельности по запчастям</a:t>
                      </a: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.1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Выручка от продаж запчастей и аксессуаров (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млн,руб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366582">
                <a:tc vMerge="1"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.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Основные показатели деятельности по запчастям</a:t>
                      </a: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.2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Прибыль от продаж запчастей и аксессуаров (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млн,руб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90926"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.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Показатели прибыли</a:t>
                      </a:r>
                    </a:p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.1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Прибыль от основной деятельности (млн. руб.)</a:t>
                      </a: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90926">
                <a:tc vMerge="1"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.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Показатели прибыли</a:t>
                      </a: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.2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Прибыль после налогообложения  (млн. руб.)</a:t>
                      </a: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90847">
                <a:tc vMerge="1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.3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Рентабельность продаж (%)</a:t>
                      </a: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35" marR="1135" marT="1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680766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460248" y="148977"/>
            <a:ext cx="9579864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zh-CN" sz="2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БИЗНЕС-ПЛАН ПРОДАЖИ НОВЫХ АВТОМОБИЛЕЙ</a:t>
            </a:r>
            <a:endParaRPr lang="zh-CN" altLang="en-US" sz="2600" b="1" dirty="0">
              <a:latin typeface="Calibri" panose="020F0502020204030204" pitchFamily="34" charset="0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graphicFrame>
        <p:nvGraphicFramePr>
          <p:cNvPr id="3" name="Group 216">
            <a:extLst>
              <a:ext uri="{FF2B5EF4-FFF2-40B4-BE49-F238E27FC236}">
                <a16:creationId xmlns:a16="http://schemas.microsoft.com/office/drawing/2014/main" id="{9875AFB2-E36A-F2F5-4860-D42F93E2A2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4111381"/>
              </p:ext>
            </p:extLst>
          </p:nvPr>
        </p:nvGraphicFramePr>
        <p:xfrm>
          <a:off x="221747" y="1252826"/>
          <a:ext cx="11425267" cy="4672170"/>
        </p:xfrm>
        <a:graphic>
          <a:graphicData uri="http://schemas.openxmlformats.org/drawingml/2006/table">
            <a:tbl>
              <a:tblPr/>
              <a:tblGrid>
                <a:gridCol w="29763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122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1622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458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07464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63903">
                <a:tc gridSpan="5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План продаж новых автомобилей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91256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Период</a:t>
                      </a:r>
                      <a:endParaRPr kumimoji="0" lang="ru-RU" sz="1800" b="1" i="0" u="none" strike="noStrike" cap="none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2</a:t>
                      </a: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kumimoji="0" 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26</a:t>
                      </a:r>
                      <a:endParaRPr kumimoji="0" 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27</a:t>
                      </a:r>
                      <a:endParaRPr kumimoji="0" 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28</a:t>
                      </a:r>
                      <a:endParaRPr kumimoji="0" 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7607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Всего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85216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90PLUS</a:t>
                      </a:r>
                      <a:endParaRPr lang="zh-CN" altLang="en-US" sz="1800" dirty="0">
                        <a:latin typeface="Calibri" panose="020F0502020204030204" pitchFamily="34" charset="0"/>
                        <a:ea typeface="微软雅黑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76656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SHING</a:t>
                      </a:r>
                      <a:endParaRPr lang="zh-CN" altLang="en-US" sz="1800" dirty="0">
                        <a:latin typeface="Calibri" panose="020F0502020204030204" pitchFamily="34" charset="0"/>
                        <a:ea typeface="微软雅黑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7724085"/>
                  </a:ext>
                </a:extLst>
              </a:tr>
              <a:tr h="55968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70PLUS</a:t>
                      </a:r>
                      <a:endParaRPr kumimoji="0" 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5968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</a:t>
                      </a:r>
                      <a:r>
                        <a:rPr kumimoji="0" 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5968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X50</a:t>
                      </a:r>
                      <a:endParaRPr kumimoji="0" 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60836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9886313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390227" y="210288"/>
            <a:ext cx="11137237" cy="57148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sz="26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БИЗНЕС-ПЛАН ПОСЛЕПРОДАЖНОЕ ОСЛУЖИВАНИЕ</a:t>
            </a:r>
          </a:p>
        </p:txBody>
      </p:sp>
      <p:graphicFrame>
        <p:nvGraphicFramePr>
          <p:cNvPr id="3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5830802"/>
              </p:ext>
            </p:extLst>
          </p:nvPr>
        </p:nvGraphicFramePr>
        <p:xfrm>
          <a:off x="239348" y="863379"/>
          <a:ext cx="11042651" cy="2569511"/>
        </p:xfrm>
        <a:graphic>
          <a:graphicData uri="http://schemas.openxmlformats.org/drawingml/2006/table">
            <a:tbl>
              <a:tblPr/>
              <a:tblGrid>
                <a:gridCol w="32648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444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444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4444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4444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29350">
                <a:tc gridSpan="5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План продаж запасных частей / аксессуаров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Период</a:t>
                      </a: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*</a:t>
                      </a: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2</a:t>
                      </a: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2</a:t>
                      </a: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2</a:t>
                      </a: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28</a:t>
                      </a: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Всего (руб.)</a:t>
                      </a: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*</a:t>
                      </a: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З/Ч (руб.)</a:t>
                      </a: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*</a:t>
                      </a: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8568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Аксессуары (руб.)</a:t>
                      </a: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*</a:t>
                      </a: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4" name="Group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5949654"/>
              </p:ext>
            </p:extLst>
          </p:nvPr>
        </p:nvGraphicFramePr>
        <p:xfrm>
          <a:off x="239349" y="3854935"/>
          <a:ext cx="11042651" cy="2623361"/>
        </p:xfrm>
        <a:graphic>
          <a:graphicData uri="http://schemas.openxmlformats.org/drawingml/2006/table">
            <a:tbl>
              <a:tblPr/>
              <a:tblGrid>
                <a:gridCol w="32648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444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444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4444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4444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05864">
                <a:tc gridSpan="5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План выработки нормо-часов  в сервисе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586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Период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2</a:t>
                      </a: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2</a:t>
                      </a: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2</a:t>
                      </a: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28</a:t>
                      </a: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6083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Всего (Н/Ч)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8996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Слесарный ремонт (Н/Ч)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6083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Кузовной ремонт (Н/Ч)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TextBox 5"/>
          <p:cNvSpPr txBox="1"/>
          <p:nvPr/>
        </p:nvSpPr>
        <p:spPr>
          <a:xfrm>
            <a:off x="512207" y="3432890"/>
            <a:ext cx="501130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6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* - указываются цены реализации конечным клиентам </a:t>
            </a:r>
          </a:p>
        </p:txBody>
      </p:sp>
    </p:spTree>
    <p:extLst>
      <p:ext uri="{BB962C8B-B14F-4D97-AF65-F5344CB8AC3E}">
        <p14:creationId xmlns:p14="http://schemas.microsoft.com/office/powerpoint/2010/main" val="4536196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399371" y="228576"/>
            <a:ext cx="11137237" cy="57148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sz="26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БИЗНЕС-ПЛАН МАРКЕТИНГ</a:t>
            </a:r>
          </a:p>
        </p:txBody>
      </p:sp>
      <p:graphicFrame>
        <p:nvGraphicFramePr>
          <p:cNvPr id="3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4215140"/>
              </p:ext>
            </p:extLst>
          </p:nvPr>
        </p:nvGraphicFramePr>
        <p:xfrm>
          <a:off x="275926" y="994093"/>
          <a:ext cx="11042650" cy="1983629"/>
        </p:xfrm>
        <a:graphic>
          <a:graphicData uri="http://schemas.openxmlformats.org/drawingml/2006/table">
            <a:tbl>
              <a:tblPr/>
              <a:tblGrid>
                <a:gridCol w="17653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198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774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3198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31986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87235">
                <a:tc gridSpan="5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План  маркетинговых расходов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1001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Период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2</a:t>
                      </a: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2</a:t>
                      </a: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2</a:t>
                      </a: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28</a:t>
                      </a: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8638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Сумма</a:t>
                      </a: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,</a:t>
                      </a: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руб.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5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7248139"/>
              </p:ext>
            </p:extLst>
          </p:nvPr>
        </p:nvGraphicFramePr>
        <p:xfrm>
          <a:off x="271806" y="3156527"/>
          <a:ext cx="7021879" cy="3283184"/>
        </p:xfrm>
        <a:graphic>
          <a:graphicData uri="http://schemas.openxmlformats.org/drawingml/2006/table">
            <a:tbl>
              <a:tblPr/>
              <a:tblGrid>
                <a:gridCol w="340524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166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48852"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Подробный план маркетинговых расходов на данный год 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214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TL 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ТВ,</a:t>
                      </a:r>
                      <a:r>
                        <a:rPr lang="ru-RU" sz="16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Пресса, Радио, Наружная реклама)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Сумма, руб.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280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Интернет</a:t>
                      </a:r>
                    </a:p>
                  </a:txBody>
                  <a:tcPr marL="9525" marR="9525" marT="952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Сумма, руб.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0311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BTL (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Шоу, Мероприятия, 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S</a:t>
                      </a:r>
                      <a:r>
                        <a:rPr lang="ru-RU" sz="16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и т.д.)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Сумма, руб.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0311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Брошюры,</a:t>
                      </a:r>
                      <a:r>
                        <a:rPr lang="ru-RU" sz="16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буклеты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Сумма, руб.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2809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Другое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Сумма, руб.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8151776"/>
                  </a:ext>
                </a:extLst>
              </a:tr>
            </a:tbl>
          </a:graphicData>
        </a:graphic>
      </p:graphicFrame>
      <p:sp>
        <p:nvSpPr>
          <p:cNvPr id="6" name="下箭头 5"/>
          <p:cNvSpPr/>
          <p:nvPr/>
        </p:nvSpPr>
        <p:spPr>
          <a:xfrm>
            <a:off x="2973859" y="2743200"/>
            <a:ext cx="255373" cy="354227"/>
          </a:xfrm>
          <a:prstGeom prst="downArrow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688648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390227" y="238887"/>
            <a:ext cx="11137237" cy="57148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sz="26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ИНФОРМАЦИЯ О ПРЕДЛОЖЕНИИ</a:t>
            </a:r>
          </a:p>
        </p:txBody>
      </p:sp>
      <p:graphicFrame>
        <p:nvGraphicFramePr>
          <p:cNvPr id="4" name="Group 3">
            <a:extLst>
              <a:ext uri="{FF2B5EF4-FFF2-40B4-BE49-F238E27FC236}">
                <a16:creationId xmlns:a16="http://schemas.microsoft.com/office/drawing/2014/main" id="{54E96849-2C77-8E46-B317-DF49A7FF7D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4448787"/>
              </p:ext>
            </p:extLst>
          </p:nvPr>
        </p:nvGraphicFramePr>
        <p:xfrm>
          <a:off x="440322" y="810367"/>
          <a:ext cx="11311355" cy="5631720"/>
        </p:xfrm>
        <a:graphic>
          <a:graphicData uri="http://schemas.openxmlformats.org/drawingml/2006/table">
            <a:tbl>
              <a:tblPr/>
              <a:tblGrid>
                <a:gridCol w="12335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762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9016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72475">
                <a:tc gridSpan="2"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400" b="1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Формат организации здания (нужное подчеркнуть)</a:t>
                      </a:r>
                      <a:endParaRPr lang="ru-RU" sz="1400" b="1" i="1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rgbClr val="39AEB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en-US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 </a:t>
                      </a:r>
                      <a:r>
                        <a:rPr lang="ru-RU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Новое строительство</a:t>
                      </a:r>
                      <a:endParaRPr sz="140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160338" marR="0" lvl="0" indent="-160338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 </a:t>
                      </a:r>
                      <a:r>
                        <a:rPr lang="ru-RU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Реконструкция</a:t>
                      </a:r>
                      <a:endParaRPr lang="en-US" sz="1400" u="none" strike="noStrike" cap="none" dirty="0">
                        <a:ln>
                          <a:noFill/>
                        </a:ln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160338" marR="0" lvl="0" indent="-160338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r>
                        <a:rPr lang="en-US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 </a:t>
                      </a:r>
                      <a:r>
                        <a:rPr lang="ru-RU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Ребрендинг</a:t>
                      </a:r>
                      <a:endParaRPr lang="ru-RU" sz="14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3536">
                <a:tc gridSpan="2"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400" b="1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Тип дилерского центра (нужное подчеркнуть)</a:t>
                      </a:r>
                      <a:endParaRPr lang="ru-RU" sz="1400" b="1" i="1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rgbClr val="39AEB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Моно-бренд</a:t>
                      </a:r>
                      <a:r>
                        <a:rPr lang="en-US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ru-RU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/</a:t>
                      </a:r>
                      <a:r>
                        <a:rPr lang="en-US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ru-RU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Совмещенный / Сити-холл шоурум </a:t>
                      </a:r>
                      <a:endParaRPr lang="en-US" sz="14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4187">
                <a:tc rowSpan="8"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400" b="1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Данные по помещению</a:t>
                      </a:r>
                      <a:endParaRPr lang="ru-RU" sz="1400" b="1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400" b="1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Адрес предлагаемого здания дилерского</a:t>
                      </a:r>
                      <a:r>
                        <a:rPr lang="ru-RU" sz="1400" b="1" u="none" strike="noStrike" cap="none" baseline="0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центра</a:t>
                      </a:r>
                      <a:endParaRPr lang="ru-RU" sz="1400" b="1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endParaRPr lang="ru-RU" sz="1400" b="0" i="0" u="none" strike="noStrike" cap="none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5897">
                <a:tc vMerge="1">
                  <a:txBody>
                    <a:bodyPr/>
                    <a:lstStyle/>
                    <a:p>
                      <a:pPr>
                        <a:defRPr/>
                      </a:pPr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400" b="1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Статус собственности</a:t>
                      </a:r>
                      <a:endParaRPr lang="ru-RU" sz="1400" b="1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endParaRPr lang="ru-RU" sz="14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58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sz="1400" b="1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Кадастровый номер здания</a:t>
                      </a:r>
                      <a:endParaRPr lang="ru-RU" sz="1400" b="1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endParaRPr lang="ru-RU" sz="14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0687">
                <a:tc vMerge="1">
                  <a:txBody>
                    <a:bodyPr/>
                    <a:lstStyle/>
                    <a:p>
                      <a:pPr>
                        <a:defRPr/>
                      </a:pPr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400" b="1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Размер земельного участка</a:t>
                      </a:r>
                      <a:endParaRPr lang="ru-RU" sz="1400" b="1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Га</a:t>
                      </a:r>
                      <a:endParaRPr lang="ru-RU" sz="14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43979">
                <a:tc vMerge="1">
                  <a:txBody>
                    <a:bodyPr/>
                    <a:lstStyle/>
                    <a:p>
                      <a:pPr>
                        <a:defRPr/>
                      </a:pPr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400" b="1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Шоу-рум (включая зону выдачи новых</a:t>
                      </a:r>
                      <a:r>
                        <a:rPr lang="ru-RU" sz="1400" b="1" u="none" strike="noStrike" cap="none" baseline="0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авто</a:t>
                      </a:r>
                      <a:r>
                        <a:rPr lang="ru-RU" sz="1400" b="1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  <a:endParaRPr lang="en-US" sz="1400" b="1" u="none" strike="noStrike" cap="none" dirty="0">
                        <a:ln>
                          <a:noFill/>
                        </a:ln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en-US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ru-RU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Размер</a:t>
                      </a:r>
                      <a:r>
                        <a:rPr lang="en-US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: </a:t>
                      </a:r>
                      <a:r>
                        <a:rPr lang="ru-RU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Длина</a:t>
                      </a:r>
                      <a:r>
                        <a:rPr lang="en-US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* </a:t>
                      </a:r>
                      <a:r>
                        <a:rPr lang="ru-RU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Ширина</a:t>
                      </a:r>
                      <a:r>
                        <a:rPr lang="en-US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  <a:r>
                        <a:rPr lang="ru-RU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, если более 1 этажа, то указать данные по каждому этажу</a:t>
                      </a:r>
                      <a:endParaRPr lang="ru-RU" sz="14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en-US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²(  m x   m)</a:t>
                      </a:r>
                      <a:endParaRPr lang="ru-RU" sz="14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72475">
                <a:tc vMerge="1">
                  <a:txBody>
                    <a:bodyPr/>
                    <a:lstStyle/>
                    <a:p>
                      <a:pPr>
                        <a:defRPr/>
                      </a:pPr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sz="1400" b="1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Слесарный цех</a:t>
                      </a:r>
                      <a:br>
                        <a:rPr lang="en-US" sz="1400" b="1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ru-RU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Размер</a:t>
                      </a:r>
                      <a:r>
                        <a:rPr lang="en-US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: </a:t>
                      </a:r>
                      <a:r>
                        <a:rPr lang="ru-RU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Длина</a:t>
                      </a:r>
                      <a:r>
                        <a:rPr lang="en-US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* </a:t>
                      </a:r>
                      <a:r>
                        <a:rPr lang="ru-RU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Ширина</a:t>
                      </a:r>
                      <a:r>
                        <a:rPr lang="en-US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  <a:endParaRPr lang="ru-RU" sz="1400" b="1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en-US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²</a:t>
                      </a:r>
                      <a:r>
                        <a:rPr lang="ko-KR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  m x   m)</a:t>
                      </a:r>
                      <a:endParaRPr lang="ru-RU" sz="1400" u="none" strike="noStrike" cap="none" dirty="0">
                        <a:ln>
                          <a:noFill/>
                        </a:ln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sz="1400" b="0" i="0" u="none" strike="noStrike" cap="non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В том же здании / в той же локации</a:t>
                      </a:r>
                      <a:r>
                        <a:rPr lang="ru-RU" sz="1400" b="0" i="0" u="none" strike="noStrike" cap="none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/ в составе холдинга / субподряд</a:t>
                      </a:r>
                      <a:endParaRPr lang="ru-RU" sz="14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94187">
                <a:tc vMerge="1">
                  <a:txBody>
                    <a:bodyPr/>
                    <a:lstStyle/>
                    <a:p>
                      <a:pPr>
                        <a:defRPr/>
                      </a:pPr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400" b="1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Склад запасных</a:t>
                      </a:r>
                      <a:r>
                        <a:rPr lang="ru-RU" sz="1400" b="1" u="none" strike="noStrike" cap="none" baseline="0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частей</a:t>
                      </a:r>
                      <a:endParaRPr lang="en-US" sz="1400" b="1" u="none" strike="noStrike" cap="none" dirty="0">
                        <a:ln>
                          <a:noFill/>
                        </a:ln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en-US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ru-RU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Размер</a:t>
                      </a:r>
                      <a:r>
                        <a:rPr lang="en-US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: </a:t>
                      </a:r>
                      <a:r>
                        <a:rPr lang="ru-RU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Длина</a:t>
                      </a:r>
                      <a:r>
                        <a:rPr lang="en-US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* </a:t>
                      </a:r>
                      <a:r>
                        <a:rPr lang="ru-RU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Ширина</a:t>
                      </a:r>
                      <a:r>
                        <a:rPr lang="en-US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  <a:endParaRPr lang="ru-RU" sz="14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en-US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²</a:t>
                      </a:r>
                      <a:r>
                        <a:rPr lang="ko-KR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  m x   m)</a:t>
                      </a:r>
                      <a:endParaRPr lang="ru-RU" sz="14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94187">
                <a:tc vMerge="1"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endParaRPr lang="ru-RU" sz="700" b="1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+mn-lt"/>
                        <a:ea typeface="Modern H Medium"/>
                      </a:endParaRPr>
                    </a:p>
                  </a:txBody>
                  <a:tcPr marT="25718" marB="25718" anchor="ctr">
                    <a:solidFill>
                      <a:srgbClr val="39235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400" b="1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Кузовной цех </a:t>
                      </a:r>
                      <a:endParaRPr lang="en-US" sz="1400" b="1" u="none" strike="noStrike" cap="none" dirty="0">
                        <a:ln>
                          <a:noFill/>
                        </a:ln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en-US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ru-RU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Размер</a:t>
                      </a:r>
                      <a:r>
                        <a:rPr lang="en-US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: </a:t>
                      </a:r>
                      <a:r>
                        <a:rPr lang="ru-RU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Длина</a:t>
                      </a:r>
                      <a:r>
                        <a:rPr lang="en-US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* </a:t>
                      </a:r>
                      <a:r>
                        <a:rPr lang="ru-RU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Ширина</a:t>
                      </a:r>
                      <a:r>
                        <a:rPr lang="en-US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  <a:endParaRPr lang="ru-RU" sz="14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²</a:t>
                      </a:r>
                      <a:r>
                        <a:rPr lang="ko-KR" altLang="en-US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  m x   m)</a:t>
                      </a:r>
                      <a:endParaRPr lang="ru-RU" sz="14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94187">
                <a:tc gridSpan="2"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400" b="1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Срок готовности к запуску дилерского</a:t>
                      </a:r>
                      <a:r>
                        <a:rPr lang="ru-RU" sz="1400" b="1" u="none" strike="noStrike" cap="none" baseline="0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ru-RU" sz="1400" b="1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центра</a:t>
                      </a:r>
                      <a:endParaRPr lang="ru-RU" sz="1400" b="1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rgbClr val="39AEB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ММ</a:t>
                      </a:r>
                      <a:r>
                        <a:rPr lang="en-US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ru-RU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/ ГГГГГ</a:t>
                      </a:r>
                      <a:endParaRPr lang="ru-RU" sz="14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94187">
                <a:tc gridSpan="2"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400" b="1" i="0" u="none" strike="noStrike" cap="non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Срок готовности по архитектурным стандартам бренда </a:t>
                      </a:r>
                    </a:p>
                  </a:txBody>
                  <a:tcPr marT="25718" marB="25718" anchor="ctr">
                    <a:solidFill>
                      <a:srgbClr val="39AEB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ММ</a:t>
                      </a:r>
                      <a:r>
                        <a:rPr lang="en-US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ru-RU" sz="140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/ ГГГГГ</a:t>
                      </a:r>
                      <a:endParaRPr lang="ru-RU" sz="14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281225"/>
                  </a:ext>
                </a:extLst>
              </a:tr>
              <a:tr h="411206">
                <a:tc gridSpan="2"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400" b="1" i="0" u="none" strike="noStrike" cap="non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Наличие обременений,</a:t>
                      </a:r>
                      <a:r>
                        <a:rPr lang="ru-RU" sz="1400" b="1" i="0" u="none" strike="noStrike" cap="none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ограничений (пятно застройки, фасад и вывески)</a:t>
                      </a:r>
                      <a:r>
                        <a:rPr lang="ru-RU" sz="1400" b="1" i="0" u="none" strike="noStrike" cap="non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,</a:t>
                      </a:r>
                      <a:r>
                        <a:rPr lang="ru-RU" sz="1400" b="1" i="0" u="none" strike="noStrike" cap="none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залога в банке и т.д.</a:t>
                      </a:r>
                      <a:endParaRPr lang="ru-RU" sz="1400" b="1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rgbClr val="39AEB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endParaRPr lang="ru-RU" sz="14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947916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399371" y="201144"/>
            <a:ext cx="11137237" cy="57148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sz="26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КАРТА РОССИИ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80354A8B-2ADE-1DFA-59A5-428A8E5808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6571" y="979238"/>
            <a:ext cx="8582836" cy="5329865"/>
          </a:xfrm>
          <a:prstGeom prst="rect">
            <a:avLst/>
          </a:prstGeom>
        </p:spPr>
      </p:pic>
      <p:sp>
        <p:nvSpPr>
          <p:cNvPr id="8" name="직사각형 3">
            <a:extLst>
              <a:ext uri="{FF2B5EF4-FFF2-40B4-BE49-F238E27FC236}">
                <a16:creationId xmlns:a16="http://schemas.microsoft.com/office/drawing/2014/main" id="{DF68C1E2-B1C2-3878-46A0-D7F52C857087}"/>
              </a:ext>
            </a:extLst>
          </p:cNvPr>
          <p:cNvSpPr/>
          <p:nvPr/>
        </p:nvSpPr>
        <p:spPr>
          <a:xfrm rot="2319314">
            <a:off x="8276946" y="1619452"/>
            <a:ext cx="2199743" cy="427254"/>
          </a:xfrm>
          <a:prstGeom prst="rect">
            <a:avLst/>
          </a:prstGeom>
          <a:solidFill>
            <a:srgbClr val="39AEB2"/>
          </a:solidFill>
          <a:ln>
            <a:solidFill>
              <a:srgbClr val="002C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>
                <a:solidFill>
                  <a:schemeClr val="tx1"/>
                </a:solidFill>
                <a:latin typeface="Calibri Light" panose="020F0302020204030204" pitchFamily="34" charset="0"/>
                <a:ea typeface="Hyundai Sans Text" pitchFamily="34" charset="0"/>
              </a:rPr>
              <a:t>Пример</a:t>
            </a:r>
          </a:p>
        </p:txBody>
      </p:sp>
    </p:spTree>
    <p:extLst>
      <p:ext uri="{BB962C8B-B14F-4D97-AF65-F5344CB8AC3E}">
        <p14:creationId xmlns:p14="http://schemas.microsoft.com/office/powerpoint/2010/main" val="20430204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460248" y="123998"/>
            <a:ext cx="9534144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zh-CN" sz="2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КАРТА ГОРОДА </a:t>
            </a:r>
            <a:r>
              <a:rPr lang="ru-RU" altLang="zh-CN" sz="2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Также нанесите расположение других брендов</a:t>
            </a:r>
            <a:r>
              <a:rPr lang="ru-RU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 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TextBox 4"/>
          <p:cNvSpPr txBox="1"/>
          <p:nvPr/>
        </p:nvSpPr>
        <p:spPr>
          <a:xfrm>
            <a:off x="9316236" y="4338537"/>
            <a:ext cx="2662768" cy="830997"/>
          </a:xfrm>
          <a:prstGeom prst="rect">
            <a:avLst/>
          </a:prstGeom>
          <a:solidFill>
            <a:schemeClr val="bg1"/>
          </a:solidFill>
          <a:ln w="34925">
            <a:solidFill>
              <a:srgbClr val="39AEB2"/>
            </a:solidFill>
          </a:ln>
        </p:spPr>
        <p:txBody>
          <a:bodyPr wrap="square" rtlCol="0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r>
              <a:rPr lang="ru-RU" sz="1200" dirty="0">
                <a:ea typeface="Modern H Medium" panose="020B0603000000020004" pitchFamily="34" charset="-128"/>
              </a:rPr>
              <a:t>Указать расстояние от места нахождения Предложения до ближайших существующих</a:t>
            </a:r>
            <a:r>
              <a:rPr lang="en-US" sz="1200" dirty="0">
                <a:ea typeface="Modern H Medium" panose="020B0603000000020004" pitchFamily="34" charset="-128"/>
              </a:rPr>
              <a:t> </a:t>
            </a:r>
            <a:r>
              <a:rPr lang="ru-RU" sz="1200" dirty="0">
                <a:ea typeface="Modern H Medium" panose="020B0603000000020004" pitchFamily="34" charset="-128"/>
              </a:rPr>
              <a:t>дилерских центров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5C6A67EE-93CE-16FF-57B4-68C1CF2E29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4858" y="1117749"/>
            <a:ext cx="6702136" cy="5295786"/>
          </a:xfrm>
          <a:prstGeom prst="rect">
            <a:avLst/>
          </a:prstGeom>
        </p:spPr>
      </p:pic>
      <p:sp>
        <p:nvSpPr>
          <p:cNvPr id="7" name="직사각형 3">
            <a:extLst>
              <a:ext uri="{FF2B5EF4-FFF2-40B4-BE49-F238E27FC236}">
                <a16:creationId xmlns:a16="http://schemas.microsoft.com/office/drawing/2014/main" id="{AE0A002F-5634-52B0-81CE-DF811AA81E28}"/>
              </a:ext>
            </a:extLst>
          </p:cNvPr>
          <p:cNvSpPr/>
          <p:nvPr/>
        </p:nvSpPr>
        <p:spPr>
          <a:xfrm rot="2319314">
            <a:off x="8763327" y="1757962"/>
            <a:ext cx="2199743" cy="427254"/>
          </a:xfrm>
          <a:prstGeom prst="rect">
            <a:avLst/>
          </a:prstGeom>
          <a:solidFill>
            <a:srgbClr val="39AEB2"/>
          </a:solidFill>
          <a:ln>
            <a:solidFill>
              <a:srgbClr val="002C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>
                <a:solidFill>
                  <a:schemeClr val="tx1"/>
                </a:solidFill>
                <a:latin typeface="Calibri Light" panose="020F0302020204030204" pitchFamily="34" charset="0"/>
                <a:ea typeface="Hyundai Sans Text" pitchFamily="34" charset="0"/>
              </a:rPr>
              <a:t>Пример</a:t>
            </a:r>
          </a:p>
        </p:txBody>
      </p:sp>
    </p:spTree>
    <p:extLst>
      <p:ext uri="{BB962C8B-B14F-4D97-AF65-F5344CB8AC3E}">
        <p14:creationId xmlns:p14="http://schemas.microsoft.com/office/powerpoint/2010/main" val="412679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B7FB9DB-A5E2-56B8-BDD9-FAE0CD64AD5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26803" y="192000"/>
            <a:ext cx="11137237" cy="57148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sz="26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КАРТА РАЙОНА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133B0433-CBC2-F2C5-4663-5907C91A13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6803" y="1147864"/>
            <a:ext cx="8476414" cy="5230567"/>
          </a:xfrm>
          <a:prstGeom prst="rect">
            <a:avLst/>
          </a:prstGeom>
        </p:spPr>
      </p:pic>
      <p:sp>
        <p:nvSpPr>
          <p:cNvPr id="15" name="TextBox 4">
            <a:extLst>
              <a:ext uri="{FF2B5EF4-FFF2-40B4-BE49-F238E27FC236}">
                <a16:creationId xmlns:a16="http://schemas.microsoft.com/office/drawing/2014/main" id="{E42328DD-2CD8-096F-9817-D54E87803BD2}"/>
              </a:ext>
            </a:extLst>
          </p:cNvPr>
          <p:cNvSpPr txBox="1"/>
          <p:nvPr/>
        </p:nvSpPr>
        <p:spPr>
          <a:xfrm>
            <a:off x="9119737" y="4513635"/>
            <a:ext cx="2662768" cy="461665"/>
          </a:xfrm>
          <a:prstGeom prst="rect">
            <a:avLst/>
          </a:prstGeom>
          <a:solidFill>
            <a:schemeClr val="bg1"/>
          </a:solidFill>
          <a:ln w="34925">
            <a:solidFill>
              <a:srgbClr val="39AEB2"/>
            </a:solidFill>
          </a:ln>
        </p:spPr>
        <p:txBody>
          <a:bodyPr wrap="square" rtlCol="0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r>
              <a:rPr lang="ru-RU" sz="1200" dirty="0">
                <a:ea typeface="Modern H Medium" panose="020B0603000000020004" pitchFamily="34" charset="-128"/>
              </a:rPr>
              <a:t>Укажите бренды, расположенные рядом с предложением.</a:t>
            </a:r>
          </a:p>
        </p:txBody>
      </p:sp>
      <p:sp>
        <p:nvSpPr>
          <p:cNvPr id="16" name="직사각형 3">
            <a:extLst>
              <a:ext uri="{FF2B5EF4-FFF2-40B4-BE49-F238E27FC236}">
                <a16:creationId xmlns:a16="http://schemas.microsoft.com/office/drawing/2014/main" id="{696B6E1C-FD4C-196E-6D48-109423DC1A31}"/>
              </a:ext>
            </a:extLst>
          </p:cNvPr>
          <p:cNvSpPr/>
          <p:nvPr/>
        </p:nvSpPr>
        <p:spPr>
          <a:xfrm rot="2319314">
            <a:off x="8763327" y="1757962"/>
            <a:ext cx="2199743" cy="427254"/>
          </a:xfrm>
          <a:prstGeom prst="rect">
            <a:avLst/>
          </a:prstGeom>
          <a:solidFill>
            <a:srgbClr val="39AEB2"/>
          </a:solidFill>
          <a:ln>
            <a:solidFill>
              <a:srgbClr val="002C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>
                <a:solidFill>
                  <a:schemeClr val="tx1"/>
                </a:solidFill>
                <a:latin typeface="Calibri Light" panose="020F0302020204030204" pitchFamily="34" charset="0"/>
                <a:ea typeface="Hyundai Sans Text" pitchFamily="34" charset="0"/>
              </a:rPr>
              <a:t>Пример</a:t>
            </a:r>
          </a:p>
        </p:txBody>
      </p:sp>
    </p:spTree>
    <p:extLst>
      <p:ext uri="{BB962C8B-B14F-4D97-AF65-F5344CB8AC3E}">
        <p14:creationId xmlns:p14="http://schemas.microsoft.com/office/powerpoint/2010/main" val="116953927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B7FB9DB-A5E2-56B8-BDD9-FAE0CD64AD5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26803" y="192000"/>
            <a:ext cx="11137237" cy="57148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sz="26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СХЕМА ГЕНЕРАЛЬНОГО ПЛАНА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ED05B237-AA93-450A-FE54-8F1B12ECF4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4690" y="1716869"/>
            <a:ext cx="10442620" cy="4496822"/>
          </a:xfrm>
          <a:prstGeom prst="rect">
            <a:avLst/>
          </a:prstGeom>
        </p:spPr>
      </p:pic>
      <p:sp>
        <p:nvSpPr>
          <p:cNvPr id="5" name="직사각형 3">
            <a:extLst>
              <a:ext uri="{FF2B5EF4-FFF2-40B4-BE49-F238E27FC236}">
                <a16:creationId xmlns:a16="http://schemas.microsoft.com/office/drawing/2014/main" id="{F9DBF778-A7A0-603C-9006-A9BA90A553EC}"/>
              </a:ext>
            </a:extLst>
          </p:cNvPr>
          <p:cNvSpPr/>
          <p:nvPr/>
        </p:nvSpPr>
        <p:spPr>
          <a:xfrm rot="2319314">
            <a:off x="8763327" y="1757962"/>
            <a:ext cx="2199743" cy="427254"/>
          </a:xfrm>
          <a:prstGeom prst="rect">
            <a:avLst/>
          </a:prstGeom>
          <a:solidFill>
            <a:srgbClr val="39AEB2"/>
          </a:solidFill>
          <a:ln>
            <a:solidFill>
              <a:srgbClr val="002C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>
                <a:solidFill>
                  <a:schemeClr val="tx1"/>
                </a:solidFill>
                <a:latin typeface="Calibri Light" panose="020F0302020204030204" pitchFamily="34" charset="0"/>
                <a:ea typeface="Hyundai Sans Text" pitchFamily="34" charset="0"/>
              </a:rPr>
              <a:t>Пример</a:t>
            </a:r>
          </a:p>
        </p:txBody>
      </p:sp>
    </p:spTree>
    <p:extLst>
      <p:ext uri="{BB962C8B-B14F-4D97-AF65-F5344CB8AC3E}">
        <p14:creationId xmlns:p14="http://schemas.microsoft.com/office/powerpoint/2010/main" val="386981967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417659" y="192000"/>
            <a:ext cx="11137237" cy="57148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sz="2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ЛАНИРОВКА</a:t>
            </a:r>
            <a:r>
              <a:rPr lang="ru-RU" sz="26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ДЦ </a:t>
            </a:r>
          </a:p>
        </p:txBody>
      </p:sp>
      <p:graphicFrame>
        <p:nvGraphicFramePr>
          <p:cNvPr id="5" name="object 5">
            <a:extLst>
              <a:ext uri="{FF2B5EF4-FFF2-40B4-BE49-F238E27FC236}">
                <a16:creationId xmlns:a16="http://schemas.microsoft.com/office/drawing/2014/main" id="{D3140ADE-D4E0-DD62-636C-6D2DA55804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9910228"/>
              </p:ext>
            </p:extLst>
          </p:nvPr>
        </p:nvGraphicFramePr>
        <p:xfrm>
          <a:off x="268251" y="1578634"/>
          <a:ext cx="3898307" cy="332979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0699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91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109932">
                <a:tc>
                  <a:txBody>
                    <a:bodyPr/>
                    <a:lstStyle/>
                    <a:p>
                      <a:pPr marL="90805" marR="224154" algn="ctr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600" b="1" spc="-1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Шоурум</a:t>
                      </a:r>
                      <a:r>
                        <a:rPr sz="1600" b="1" spc="-1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endParaRPr lang="ru-RU" sz="1600" b="1" spc="-1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90805" marR="224154" algn="ctr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200" spc="-5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</a:t>
                      </a:r>
                      <a:r>
                        <a:rPr sz="120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Ра</a:t>
                      </a:r>
                      <a:r>
                        <a:rPr sz="1200" spc="-5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з</a:t>
                      </a:r>
                      <a:r>
                        <a:rPr sz="120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мер</a:t>
                      </a:r>
                      <a:r>
                        <a:rPr sz="12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: </a:t>
                      </a:r>
                      <a:r>
                        <a:rPr sz="1200" spc="-5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Длина</a:t>
                      </a:r>
                      <a:r>
                        <a:rPr sz="12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  <a:r>
                        <a:rPr sz="1200" spc="-5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Ширина</a:t>
                      </a:r>
                      <a:r>
                        <a:rPr sz="1200" spc="-5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  <a:endParaRPr sz="120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910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 504 м</a:t>
                      </a:r>
                      <a:r>
                        <a:rPr kumimoji="0" lang="ru-RU" sz="1600" b="0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zh-CN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</a:t>
                      </a:r>
                      <a:r>
                        <a:rPr kumimoji="0" lang="ru-RU" altLang="zh-CN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24 </a:t>
                      </a:r>
                      <a:r>
                        <a:rPr kumimoji="0" lang="en-US" altLang="zh-CN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 x</a:t>
                      </a:r>
                      <a:r>
                        <a:rPr kumimoji="0" lang="ru-RU" altLang="zh-CN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21 </a:t>
                      </a:r>
                      <a:r>
                        <a:rPr kumimoji="0" lang="en-US" altLang="zh-CN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)</a:t>
                      </a: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09932">
                <a:tc>
                  <a:txBody>
                    <a:bodyPr/>
                    <a:lstStyle/>
                    <a:p>
                      <a:pPr marL="90805" marR="149860" algn="ctr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600" b="1" spc="-5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Слеса</a:t>
                      </a:r>
                      <a:r>
                        <a:rPr sz="1600" b="1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р</a:t>
                      </a:r>
                      <a:r>
                        <a:rPr sz="1600" b="1" spc="-1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н</a:t>
                      </a:r>
                      <a:r>
                        <a:rPr sz="1600" b="1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ый</a:t>
                      </a:r>
                      <a:r>
                        <a:rPr sz="1600" b="1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sz="1600" b="1" spc="-15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ц</a:t>
                      </a:r>
                      <a:r>
                        <a:rPr sz="1600" b="1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ех</a:t>
                      </a:r>
                      <a:endParaRPr lang="ru-RU" sz="1600" b="1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90805" marR="149860" algn="ctr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200" spc="-5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</a:t>
                      </a:r>
                      <a:r>
                        <a:rPr sz="1200" spc="-5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Размер</a:t>
                      </a:r>
                      <a:r>
                        <a:rPr sz="12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: </a:t>
                      </a:r>
                      <a:r>
                        <a:rPr sz="1200" spc="-5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Длина</a:t>
                      </a:r>
                      <a:r>
                        <a:rPr sz="1200" spc="1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sz="12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  <a:r>
                        <a:rPr sz="1200" spc="-5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Ширина</a:t>
                      </a:r>
                      <a:r>
                        <a:rPr sz="1200" spc="-5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  <a:endParaRPr sz="120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4910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zh-CN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78 м</a:t>
                      </a:r>
                      <a:r>
                        <a:rPr kumimoji="0" lang="ru-RU" altLang="zh-CN" sz="1600" b="0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kumimoji="0" lang="en-US" altLang="zh-CN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zh-CN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</a:t>
                      </a:r>
                      <a:r>
                        <a:rPr kumimoji="0" lang="ru-RU" altLang="zh-CN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18 </a:t>
                      </a:r>
                      <a:r>
                        <a:rPr kumimoji="0" lang="en-US" altLang="zh-CN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 x</a:t>
                      </a:r>
                      <a:r>
                        <a:rPr kumimoji="0" lang="ru-RU" altLang="zh-CN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21 </a:t>
                      </a:r>
                      <a:r>
                        <a:rPr kumimoji="0" lang="en-US" altLang="zh-CN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)</a:t>
                      </a: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09933">
                <a:tc>
                  <a:txBody>
                    <a:bodyPr/>
                    <a:lstStyle/>
                    <a:p>
                      <a:pPr marL="90805" marR="168275" algn="ctr">
                        <a:lnSpc>
                          <a:spcPct val="110100"/>
                        </a:lnSpc>
                        <a:spcBef>
                          <a:spcPts val="145"/>
                        </a:spcBef>
                      </a:pPr>
                      <a:r>
                        <a:rPr sz="1600" b="1" spc="-1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Кузовной</a:t>
                      </a:r>
                      <a:r>
                        <a:rPr sz="1600" b="1" spc="-1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sz="1600" b="1" spc="-5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цех</a:t>
                      </a:r>
                      <a:r>
                        <a:rPr lang="ru-RU" sz="1600" b="1" spc="-5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  <a:r>
                        <a:rPr sz="1600" b="1" spc="-5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sz="1600" b="1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endParaRPr lang="ru-RU" sz="1600" b="1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90805" marR="168275" algn="ctr">
                        <a:lnSpc>
                          <a:spcPct val="110100"/>
                        </a:lnSpc>
                        <a:spcBef>
                          <a:spcPts val="145"/>
                        </a:spcBef>
                      </a:pPr>
                      <a:r>
                        <a:rPr sz="1200" spc="-5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</a:t>
                      </a:r>
                      <a:r>
                        <a:rPr sz="1200" spc="-5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Размер</a:t>
                      </a:r>
                      <a:r>
                        <a:rPr sz="12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:</a:t>
                      </a:r>
                      <a:r>
                        <a:rPr lang="ru-RU" sz="12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sz="1200" spc="-5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Длина</a:t>
                      </a:r>
                      <a:r>
                        <a:rPr sz="12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*</a:t>
                      </a:r>
                      <a:r>
                        <a:rPr sz="1200" spc="-5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Ширина</a:t>
                      </a:r>
                      <a:r>
                        <a:rPr sz="1200" spc="-5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  <a:endParaRPr sz="120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2455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zh-CN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1008 м</a:t>
                      </a:r>
                      <a:r>
                        <a:rPr kumimoji="0" lang="ru-RU" altLang="zh-CN" sz="1600" b="0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kumimoji="0" lang="en-US" altLang="zh-CN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zh-CN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</a:t>
                      </a:r>
                      <a:r>
                        <a:rPr kumimoji="0" lang="ru-RU" altLang="zh-CN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48 </a:t>
                      </a:r>
                      <a:r>
                        <a:rPr kumimoji="0" lang="en-US" altLang="zh-CN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 x</a:t>
                      </a:r>
                      <a:r>
                        <a:rPr kumimoji="0" lang="ru-RU" altLang="zh-CN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21 </a:t>
                      </a:r>
                      <a:r>
                        <a:rPr kumimoji="0" lang="en-US" altLang="zh-CN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)</a:t>
                      </a: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ED79C7A-C371-744F-42C1-0D0A190555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87383" y="1331236"/>
            <a:ext cx="6867513" cy="5064801"/>
          </a:xfrm>
          <a:prstGeom prst="rect">
            <a:avLst/>
          </a:prstGeom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77A65528-5926-EC68-10F2-2FE362A4A8AB}"/>
              </a:ext>
            </a:extLst>
          </p:cNvPr>
          <p:cNvSpPr/>
          <p:nvPr/>
        </p:nvSpPr>
        <p:spPr>
          <a:xfrm rot="5400000">
            <a:off x="6731540" y="4280170"/>
            <a:ext cx="1099226" cy="2149813"/>
          </a:xfrm>
          <a:prstGeom prst="rect">
            <a:avLst/>
          </a:prstGeom>
          <a:noFill/>
          <a:ln w="571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98BF7A59-FB9F-27ED-D195-53B011FE1A87}"/>
              </a:ext>
            </a:extLst>
          </p:cNvPr>
          <p:cNvSpPr/>
          <p:nvPr/>
        </p:nvSpPr>
        <p:spPr>
          <a:xfrm>
            <a:off x="6206247" y="5307930"/>
            <a:ext cx="959271" cy="218834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Шоурум</a:t>
            </a: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E7982019-E674-75D5-1A03-D6A71C678D86}"/>
              </a:ext>
            </a:extLst>
          </p:cNvPr>
          <p:cNvSpPr/>
          <p:nvPr/>
        </p:nvSpPr>
        <p:spPr>
          <a:xfrm rot="2319314">
            <a:off x="9462676" y="1871619"/>
            <a:ext cx="2199743" cy="427254"/>
          </a:xfrm>
          <a:prstGeom prst="rect">
            <a:avLst/>
          </a:prstGeom>
          <a:solidFill>
            <a:srgbClr val="39AEB2"/>
          </a:solidFill>
          <a:ln>
            <a:solidFill>
              <a:srgbClr val="002C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>
                <a:solidFill>
                  <a:schemeClr val="tx1"/>
                </a:solidFill>
                <a:latin typeface="Calibri Light" panose="020F0302020204030204" pitchFamily="34" charset="0"/>
                <a:ea typeface="Hyundai Sans Text" pitchFamily="34" charset="0"/>
              </a:rPr>
              <a:t>Пример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940ACEC-E2EE-57EC-D3E1-CE30D2DDF5FE}"/>
              </a:ext>
            </a:extLst>
          </p:cNvPr>
          <p:cNvSpPr txBox="1"/>
          <p:nvPr/>
        </p:nvSpPr>
        <p:spPr>
          <a:xfrm>
            <a:off x="338754" y="5574351"/>
            <a:ext cx="3827804" cy="660677"/>
          </a:xfrm>
          <a:prstGeom prst="rect">
            <a:avLst/>
          </a:prstGeom>
        </p:spPr>
        <p:txBody>
          <a:bodyPr vert="horz" wrap="none" lIns="36000" tIns="36000" rIns="36000" bIns="36000" rtlCol="0" anchor="t" anchorCtr="0">
            <a:noAutofit/>
          </a:bodyPr>
          <a:lstStyle/>
          <a:p>
            <a:pPr algn="ctr" defTabSz="914400">
              <a:lnSpc>
                <a:spcPct val="150000"/>
              </a:lnSpc>
              <a:spcBef>
                <a:spcPct val="0"/>
              </a:spcBef>
            </a:pPr>
            <a:r>
              <a:rPr lang="ru-RU" sz="1400" b="1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*Указать адрес расположения кузовного цеха</a:t>
            </a:r>
          </a:p>
        </p:txBody>
      </p:sp>
    </p:spTree>
    <p:extLst>
      <p:ext uri="{BB962C8B-B14F-4D97-AF65-F5344CB8AC3E}">
        <p14:creationId xmlns:p14="http://schemas.microsoft.com/office/powerpoint/2010/main" val="13653139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Group 118">
            <a:extLst>
              <a:ext uri="{FF2B5EF4-FFF2-40B4-BE49-F238E27FC236}">
                <a16:creationId xmlns:a16="http://schemas.microsoft.com/office/drawing/2014/main" id="{03662D67-F063-0CBE-325F-DEB0DB5A60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2751336"/>
              </p:ext>
            </p:extLst>
          </p:nvPr>
        </p:nvGraphicFramePr>
        <p:xfrm>
          <a:off x="323528" y="953311"/>
          <a:ext cx="11038378" cy="5262663"/>
        </p:xfrm>
        <a:graphic>
          <a:graphicData uri="http://schemas.openxmlformats.org/drawingml/2006/table">
            <a:tbl>
              <a:tblPr/>
              <a:tblGrid>
                <a:gridCol w="26497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3707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228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62871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50487">
                <a:tc gridSpan="4"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600" b="1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Контактная информация</a:t>
                      </a:r>
                      <a:endParaRPr lang="ru-RU" sz="1600" b="1" i="0" u="none" strike="noStrike" cap="none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rgbClr val="39AEB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39538"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600" b="1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Наименование</a:t>
                      </a:r>
                      <a:endParaRPr lang="ru-RU" sz="1600" b="1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sz="1600" b="0" i="0" u="none" strike="noStrike" cap="non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Укажите</a:t>
                      </a:r>
                      <a:r>
                        <a:rPr lang="ru-RU" sz="1600" b="0" i="0" u="none" strike="noStrike" cap="none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юридическое лицо, с которым планируется заключение Дилерского соглашения</a:t>
                      </a: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05626"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600" b="1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Адрес  предлагаемого здания</a:t>
                      </a:r>
                      <a:r>
                        <a:rPr lang="ru-RU" sz="1600" b="1" u="none" strike="noStrike" cap="none" baseline="0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ДЦ</a:t>
                      </a:r>
                      <a:endParaRPr lang="ru-RU" sz="1600" b="1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endParaRPr lang="ru-RU" sz="16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600" b="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ИНН:</a:t>
                      </a:r>
                      <a:endParaRPr lang="ru-RU" sz="16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sz="1600" b="0" i="0" u="none" strike="noStrike" cap="none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Юридического лица, с которым планируется заключение Дилерского соглашения</a:t>
                      </a:r>
                      <a:endParaRPr lang="ru-RU" sz="16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51601"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600" b="1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Кадастровый номер участка </a:t>
                      </a:r>
                      <a:endParaRPr lang="ru-RU" sz="1600" b="1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sz="1600" b="0" i="0" u="none" strike="noStrike" cap="none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Номер участка, на котором располагается предлагаемое здание дилерского центра</a:t>
                      </a:r>
                      <a:endParaRPr lang="ru-RU" sz="16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15411"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600" b="1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Контакты</a:t>
                      </a:r>
                      <a:endParaRPr lang="ru-RU" sz="1600" b="1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defRPr/>
                      </a:pPr>
                      <a:r>
                        <a:rPr lang="ru-RU" sz="1600" b="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Телефон</a:t>
                      </a:r>
                      <a:r>
                        <a:rPr lang="en-US" sz="1600" b="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:</a:t>
                      </a:r>
                      <a:endParaRPr sz="1600" b="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defRPr/>
                      </a:pPr>
                      <a:r>
                        <a:rPr lang="ru-RU" sz="1600" b="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Почтовый адрес</a:t>
                      </a:r>
                      <a:r>
                        <a:rPr lang="en-US" sz="1600" b="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:</a:t>
                      </a:r>
                      <a:endParaRPr sz="1600" b="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defRPr/>
                      </a:pPr>
                      <a:r>
                        <a:rPr lang="en-US" sz="1600" b="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-mail:</a:t>
                      </a:r>
                      <a:endParaRPr sz="1600" b="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defRPr/>
                      </a:pPr>
                      <a:r>
                        <a:rPr lang="ru-RU" sz="1600" b="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Веб-сайт</a:t>
                      </a:r>
                      <a:r>
                        <a:rPr lang="en-US" sz="1600" b="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:</a:t>
                      </a:r>
                      <a:endParaRPr lang="ru-RU" sz="16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51E13E5A-86B7-9770-7E24-A9528055973F}"/>
              </a:ext>
            </a:extLst>
          </p:cNvPr>
          <p:cNvSpPr txBox="1">
            <a:spLocks/>
          </p:cNvSpPr>
          <p:nvPr/>
        </p:nvSpPr>
        <p:spPr>
          <a:xfrm>
            <a:off x="431538" y="265152"/>
            <a:ext cx="11137237" cy="57148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lang="ru-RU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ОБЩАЯ ИНФОРМАЦИЯ О КОМПАНИИ</a:t>
            </a:r>
          </a:p>
        </p:txBody>
      </p:sp>
    </p:spTree>
    <p:extLst>
      <p:ext uri="{BB962C8B-B14F-4D97-AF65-F5344CB8AC3E}">
        <p14:creationId xmlns:p14="http://schemas.microsoft.com/office/powerpoint/2010/main" val="16435445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FB9C03CE-EC29-DD90-221E-78102F531364}"/>
              </a:ext>
            </a:extLst>
          </p:cNvPr>
          <p:cNvSpPr/>
          <p:nvPr/>
        </p:nvSpPr>
        <p:spPr>
          <a:xfrm>
            <a:off x="440805" y="166271"/>
            <a:ext cx="7195368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zh-CN" sz="2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СРОКИ И ЭТАПЫ ЗАПУСКА ДИЛЕРСКОГО ЦЕНТРА </a:t>
            </a:r>
            <a:endParaRPr lang="zh-CN" altLang="en-US" sz="2600" b="1" dirty="0">
              <a:latin typeface="Calibri" panose="020F0502020204030204" pitchFamily="34" charset="0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graphicFrame>
        <p:nvGraphicFramePr>
          <p:cNvPr id="3" name="Group 188">
            <a:extLst>
              <a:ext uri="{FF2B5EF4-FFF2-40B4-BE49-F238E27FC236}">
                <a16:creationId xmlns:a16="http://schemas.microsoft.com/office/drawing/2014/main" id="{3713A3E5-362C-E366-039E-B57183D181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108846"/>
              </p:ext>
            </p:extLst>
          </p:nvPr>
        </p:nvGraphicFramePr>
        <p:xfrm>
          <a:off x="305108" y="1352406"/>
          <a:ext cx="11205920" cy="4153188"/>
        </p:xfrm>
        <a:graphic>
          <a:graphicData uri="http://schemas.openxmlformats.org/drawingml/2006/table">
            <a:tbl>
              <a:tblPr/>
              <a:tblGrid>
                <a:gridCol w="62027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683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3484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18630">
                <a:tc gridSpan="3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Сроки и этапы запуска дилерского центра </a:t>
                      </a:r>
                      <a:r>
                        <a:rPr kumimoji="0" lang="ru-RU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обязательно заполнить)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8831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Этапы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Начало этапа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Завершение этапа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8940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Формирование штата сотрудников, отвечающих за бренд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мм/гггг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zh-CN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мм/гггг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42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Заказ тестовых и товарных автомобилей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564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Заказ стартового пакета специнструмента, з/ч и аксессуаров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564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Размещение временной идентификации 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3564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Прохождение технического аудита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3564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Начало операционной деятельности центра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3399852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3651786"/>
              </p:ext>
            </p:extLst>
          </p:nvPr>
        </p:nvGraphicFramePr>
        <p:xfrm>
          <a:off x="305108" y="1352406"/>
          <a:ext cx="11205920" cy="4153188"/>
        </p:xfrm>
        <a:graphic>
          <a:graphicData uri="http://schemas.openxmlformats.org/drawingml/2006/table">
            <a:tbl>
              <a:tblPr/>
              <a:tblGrid>
                <a:gridCol w="62027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7504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2811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18630">
                <a:tc gridSpan="3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Сроки и этапы запуска реконструкции по архитектурным стандартам </a:t>
                      </a:r>
                      <a:r>
                        <a:rPr kumimoji="0" lang="ru-RU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обязательно заполнить)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8831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Этапы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Начало этапа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Завершение этапа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8940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Разработка эскизного проекта</a:t>
                      </a: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мм/гггг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zh-CN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мм/гггг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42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Согласование эскизного проекта с Дистрибьютором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564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Заказ элементов внутренней и внешней идентификации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564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Проведение внутренних отделочных работ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3564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Установка элементов внутренней и внешней идентификации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3564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Окончание реконструкции и прохождение бренд аудита 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3" name="矩形 1">
            <a:extLst>
              <a:ext uri="{FF2B5EF4-FFF2-40B4-BE49-F238E27FC236}">
                <a16:creationId xmlns:a16="http://schemas.microsoft.com/office/drawing/2014/main" id="{32F85818-E9DB-64C3-BC14-3A4FCBF31291}"/>
              </a:ext>
            </a:extLst>
          </p:cNvPr>
          <p:cNvSpPr/>
          <p:nvPr/>
        </p:nvSpPr>
        <p:spPr>
          <a:xfrm>
            <a:off x="440805" y="166271"/>
            <a:ext cx="7195368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zh-CN" sz="2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СРОКИ И ЭТАПЫ ЗАПУСКА ДИЛЕРСКОГО ЦЕНТРА </a:t>
            </a:r>
            <a:endParaRPr lang="zh-CN" altLang="en-US" sz="2600" b="1" dirty="0">
              <a:latin typeface="Calibri" panose="020F0502020204030204" pitchFamily="34" charset="0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252152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2ADD3ABB-5BE4-6CA3-1632-AE0332DAAA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43817" y="1598863"/>
            <a:ext cx="8794667" cy="4821392"/>
          </a:xfrm>
          <a:prstGeom prst="rect">
            <a:avLst/>
          </a:prstGeom>
        </p:spPr>
      </p:pic>
      <p:sp>
        <p:nvSpPr>
          <p:cNvPr id="9" name="矩形 7">
            <a:extLst>
              <a:ext uri="{FF2B5EF4-FFF2-40B4-BE49-F238E27FC236}">
                <a16:creationId xmlns:a16="http://schemas.microsoft.com/office/drawing/2014/main" id="{5F391702-A52E-800E-C94A-4E54DB83C42D}"/>
              </a:ext>
            </a:extLst>
          </p:cNvPr>
          <p:cNvSpPr/>
          <p:nvPr/>
        </p:nvSpPr>
        <p:spPr>
          <a:xfrm>
            <a:off x="6114803" y="1955261"/>
            <a:ext cx="4523681" cy="3303876"/>
          </a:xfrm>
          <a:prstGeom prst="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endParaRPr lang="zh-CN" altLang="en-US" sz="1401" b="1" kern="0" dirty="0">
              <a:solidFill>
                <a:srgbClr val="4E733D"/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13" name="직사각형 3">
            <a:extLst>
              <a:ext uri="{FF2B5EF4-FFF2-40B4-BE49-F238E27FC236}">
                <a16:creationId xmlns:a16="http://schemas.microsoft.com/office/drawing/2014/main" id="{89AB0F78-DA44-119A-8C98-82F442AB8C63}"/>
              </a:ext>
            </a:extLst>
          </p:cNvPr>
          <p:cNvSpPr/>
          <p:nvPr/>
        </p:nvSpPr>
        <p:spPr>
          <a:xfrm rot="2319314">
            <a:off x="9953311" y="1385236"/>
            <a:ext cx="2199743" cy="42725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002C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>
                <a:solidFill>
                  <a:schemeClr val="tx1"/>
                </a:solidFill>
                <a:latin typeface="Calibri Light" panose="020F0302020204030204" pitchFamily="34" charset="0"/>
                <a:ea typeface="Hyundai Sans Text" pitchFamily="34" charset="0"/>
              </a:rPr>
              <a:t>Пример</a:t>
            </a:r>
          </a:p>
        </p:txBody>
      </p:sp>
      <p:sp>
        <p:nvSpPr>
          <p:cNvPr id="15" name="TextBox 4">
            <a:extLst>
              <a:ext uri="{FF2B5EF4-FFF2-40B4-BE49-F238E27FC236}">
                <a16:creationId xmlns:a16="http://schemas.microsoft.com/office/drawing/2014/main" id="{88C25C53-566A-6C4C-25C5-3CD50BF019B9}"/>
              </a:ext>
            </a:extLst>
          </p:cNvPr>
          <p:cNvSpPr txBox="1"/>
          <p:nvPr/>
        </p:nvSpPr>
        <p:spPr>
          <a:xfrm>
            <a:off x="442665" y="941110"/>
            <a:ext cx="2662768" cy="461665"/>
          </a:xfrm>
          <a:prstGeom prst="rect">
            <a:avLst/>
          </a:prstGeom>
          <a:solidFill>
            <a:schemeClr val="bg1"/>
          </a:solidFill>
          <a:ln w="34925">
            <a:solidFill>
              <a:srgbClr val="39AEB2"/>
            </a:solidFill>
          </a:ln>
        </p:spPr>
        <p:txBody>
          <a:bodyPr wrap="square" rtlCol="0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r>
              <a:rPr lang="ru-RU" sz="1200" dirty="0">
                <a:ea typeface="Modern H Medium" panose="020B0603000000020004" pitchFamily="34" charset="-128"/>
              </a:rPr>
              <a:t>Необходимо выделить и указать длину предполагаемого фасада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4309097-1140-0795-6DE7-F9C2678900E8}"/>
              </a:ext>
            </a:extLst>
          </p:cNvPr>
          <p:cNvSpPr txBox="1"/>
          <p:nvPr/>
        </p:nvSpPr>
        <p:spPr>
          <a:xfrm>
            <a:off x="7630618" y="2011154"/>
            <a:ext cx="914400" cy="914400"/>
          </a:xfrm>
          <a:prstGeom prst="rect">
            <a:avLst/>
          </a:prstGeom>
        </p:spPr>
        <p:txBody>
          <a:bodyPr vert="horz" wrap="none" lIns="36000" tIns="36000" rIns="36000" bIns="36000" rtlCol="0" anchor="t" anchorCtr="0">
            <a:noAutofit/>
          </a:bodyPr>
          <a:lstStyle/>
          <a:p>
            <a:pPr algn="ctr" defTabSz="914400">
              <a:lnSpc>
                <a:spcPct val="150000"/>
              </a:lnSpc>
              <a:spcBef>
                <a:spcPct val="0"/>
              </a:spcBef>
            </a:pPr>
            <a:r>
              <a:rPr lang="ru-RU" sz="1800" b="1" dirty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5 </a:t>
            </a:r>
            <a:r>
              <a:rPr lang="en-US" sz="1800" b="1" dirty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</a:t>
            </a:r>
            <a:endParaRPr lang="ru-RU" sz="1800" b="1" dirty="0">
              <a:solidFill>
                <a:srgbClr val="C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03D29E14-78D5-41CC-17F3-5A130451C69A}"/>
              </a:ext>
            </a:extLst>
          </p:cNvPr>
          <p:cNvSpPr>
            <a:spLocks noGrp="1"/>
          </p:cNvSpPr>
          <p:nvPr/>
        </p:nvSpPr>
        <p:spPr bwMode="auto">
          <a:xfrm>
            <a:off x="442665" y="152005"/>
            <a:ext cx="8352928" cy="571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4C4C4C"/>
                </a:solidFill>
                <a:latin typeface="微软雅黑" pitchFamily="34" charset="-122"/>
                <a:ea typeface="微软雅黑" pitchFamily="34" charset="-122"/>
                <a:cs typeface="Hiragino Sans GB W6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4C4C4C"/>
                </a:solidFill>
                <a:latin typeface="Hiragino Sans GB W6"/>
                <a:ea typeface="Hiragino Sans GB W6"/>
                <a:cs typeface="Hiragino Sans GB W6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4C4C4C"/>
                </a:solidFill>
                <a:latin typeface="Hiragino Sans GB W6"/>
                <a:ea typeface="Hiragino Sans GB W6"/>
                <a:cs typeface="Hiragino Sans GB W6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4C4C4C"/>
                </a:solidFill>
                <a:latin typeface="Hiragino Sans GB W6"/>
                <a:ea typeface="Hiragino Sans GB W6"/>
                <a:cs typeface="Hiragino Sans GB W6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4C4C4C"/>
                </a:solidFill>
                <a:latin typeface="Hiragino Sans GB W6"/>
                <a:ea typeface="Hiragino Sans GB W6"/>
                <a:cs typeface="Hiragino Sans GB W6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r>
              <a:rPr lang="ru-RU" sz="2600" b="1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СУЩЕСТВУЮЩИЙ ВИД (фото дилерского центра)</a:t>
            </a:r>
          </a:p>
        </p:txBody>
      </p:sp>
    </p:spTree>
    <p:extLst>
      <p:ext uri="{BB962C8B-B14F-4D97-AF65-F5344CB8AC3E}">
        <p14:creationId xmlns:p14="http://schemas.microsoft.com/office/powerpoint/2010/main" val="255806262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/>
        </p:nvSpPr>
        <p:spPr bwMode="auto">
          <a:xfrm>
            <a:off x="436006" y="119637"/>
            <a:ext cx="8352928" cy="571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4C4C4C"/>
                </a:solidFill>
                <a:latin typeface="微软雅黑" pitchFamily="34" charset="-122"/>
                <a:ea typeface="微软雅黑" pitchFamily="34" charset="-122"/>
                <a:cs typeface="Hiragino Sans GB W6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4C4C4C"/>
                </a:solidFill>
                <a:latin typeface="Hiragino Sans GB W6"/>
                <a:ea typeface="Hiragino Sans GB W6"/>
                <a:cs typeface="Hiragino Sans GB W6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4C4C4C"/>
                </a:solidFill>
                <a:latin typeface="Hiragino Sans GB W6"/>
                <a:ea typeface="Hiragino Sans GB W6"/>
                <a:cs typeface="Hiragino Sans GB W6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4C4C4C"/>
                </a:solidFill>
                <a:latin typeface="Hiragino Sans GB W6"/>
                <a:ea typeface="Hiragino Sans GB W6"/>
                <a:cs typeface="Hiragino Sans GB W6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4C4C4C"/>
                </a:solidFill>
                <a:latin typeface="Hiragino Sans GB W6"/>
                <a:ea typeface="Hiragino Sans GB W6"/>
                <a:cs typeface="Hiragino Sans GB W6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r>
              <a:rPr lang="ru-RU" sz="2600" b="1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СУЩЕСТВУЮЩИЙ ВИД (фото дилерского центра)</a:t>
            </a:r>
          </a:p>
        </p:txBody>
      </p:sp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6229400" y="3640682"/>
            <a:ext cx="4032250" cy="2448743"/>
          </a:xfrm>
          <a:prstGeom prst="rect">
            <a:avLst/>
          </a:prstGeom>
          <a:solidFill>
            <a:srgbClr val="39AEB2">
              <a:alpha val="2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algn="ctr"/>
            <a:r>
              <a:rPr lang="ru-RU" dirty="0">
                <a:latin typeface="微软雅黑" panose="020B0503020204020204" pitchFamily="34" charset="-122"/>
                <a:ea typeface="微软雅黑" panose="020B0503020204020204" pitchFamily="34" charset="-122"/>
              </a:rPr>
              <a:t>Дополнительное фото</a:t>
            </a: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6229202" y="1049336"/>
            <a:ext cx="4032250" cy="2448743"/>
          </a:xfrm>
          <a:prstGeom prst="rect">
            <a:avLst/>
          </a:prstGeom>
          <a:solidFill>
            <a:srgbClr val="39AEB2">
              <a:alpha val="2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algn="ctr"/>
            <a:r>
              <a:rPr lang="ru-RU" dirty="0">
                <a:latin typeface="微软雅黑" panose="020B0503020204020204" pitchFamily="34" charset="-122"/>
                <a:ea typeface="微软雅黑" panose="020B0503020204020204" pitchFamily="34" charset="-122"/>
              </a:rPr>
              <a:t>Фото участка по фасаду справа</a:t>
            </a: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1980730" y="3641624"/>
            <a:ext cx="4032250" cy="2448743"/>
          </a:xfrm>
          <a:prstGeom prst="rect">
            <a:avLst/>
          </a:prstGeom>
          <a:solidFill>
            <a:srgbClr val="39AEB2">
              <a:alpha val="2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algn="ctr"/>
            <a:r>
              <a:rPr lang="ru-RU" dirty="0">
                <a:latin typeface="微软雅黑" panose="020B0503020204020204" pitchFamily="34" charset="-122"/>
                <a:ea typeface="微软雅黑" panose="020B0503020204020204" pitchFamily="34" charset="-122"/>
              </a:rPr>
              <a:t>Дополнительное фото</a:t>
            </a: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1980928" y="1048865"/>
            <a:ext cx="4032250" cy="2448743"/>
          </a:xfrm>
          <a:prstGeom prst="rect">
            <a:avLst/>
          </a:prstGeom>
          <a:solidFill>
            <a:srgbClr val="39AEB2">
              <a:alpha val="2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algn="ctr"/>
            <a:r>
              <a:rPr lang="ru-RU" dirty="0">
                <a:latin typeface="微软雅黑" panose="020B0503020204020204" pitchFamily="34" charset="-122"/>
                <a:ea typeface="微软雅黑" panose="020B0503020204020204" pitchFamily="34" charset="-122"/>
              </a:rPr>
              <a:t>Фото участка по фасаду слева</a:t>
            </a:r>
          </a:p>
        </p:txBody>
      </p:sp>
    </p:spTree>
    <p:extLst>
      <p:ext uri="{BB962C8B-B14F-4D97-AF65-F5344CB8AC3E}">
        <p14:creationId xmlns:p14="http://schemas.microsoft.com/office/powerpoint/2010/main" val="389138315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/>
        </p:nvSpPr>
        <p:spPr bwMode="auto">
          <a:xfrm>
            <a:off x="394158" y="109265"/>
            <a:ext cx="8352928" cy="571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4C4C4C"/>
                </a:solidFill>
                <a:latin typeface="微软雅黑" pitchFamily="34" charset="-122"/>
                <a:ea typeface="微软雅黑" pitchFamily="34" charset="-122"/>
                <a:cs typeface="Hiragino Sans GB W6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4C4C4C"/>
                </a:solidFill>
                <a:latin typeface="Hiragino Sans GB W6"/>
                <a:ea typeface="Hiragino Sans GB W6"/>
                <a:cs typeface="Hiragino Sans GB W6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4C4C4C"/>
                </a:solidFill>
                <a:latin typeface="Hiragino Sans GB W6"/>
                <a:ea typeface="Hiragino Sans GB W6"/>
                <a:cs typeface="Hiragino Sans GB W6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4C4C4C"/>
                </a:solidFill>
                <a:latin typeface="Hiragino Sans GB W6"/>
                <a:ea typeface="Hiragino Sans GB W6"/>
                <a:cs typeface="Hiragino Sans GB W6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4C4C4C"/>
                </a:solidFill>
                <a:latin typeface="Hiragino Sans GB W6"/>
                <a:ea typeface="Hiragino Sans GB W6"/>
                <a:cs typeface="Hiragino Sans GB W6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r>
              <a:rPr lang="ru-RU" sz="2600" b="1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СУЩЕСТВУЮЩИЙ ВИД (фото шоурума</a:t>
            </a:r>
            <a:r>
              <a:rPr lang="ru-RU" sz="2600" b="1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6366560" y="3631538"/>
            <a:ext cx="4032250" cy="2448743"/>
          </a:xfrm>
          <a:prstGeom prst="rect">
            <a:avLst/>
          </a:prstGeom>
          <a:solidFill>
            <a:srgbClr val="39AEB2">
              <a:alpha val="2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algn="ctr"/>
            <a:r>
              <a:rPr lang="ru-RU" dirty="0">
                <a:latin typeface="微软雅黑" panose="020B0503020204020204" pitchFamily="34" charset="-122"/>
                <a:ea typeface="微软雅黑" panose="020B0503020204020204" pitchFamily="34" charset="-122"/>
              </a:rPr>
              <a:t>Дополнительное фото</a:t>
            </a: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6366362" y="1040192"/>
            <a:ext cx="4032250" cy="2448743"/>
          </a:xfrm>
          <a:prstGeom prst="rect">
            <a:avLst/>
          </a:prstGeom>
          <a:solidFill>
            <a:srgbClr val="39AEB2">
              <a:alpha val="2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algn="ctr"/>
            <a:r>
              <a:rPr lang="ru-RU" dirty="0">
                <a:latin typeface="微软雅黑" panose="020B0503020204020204" pitchFamily="34" charset="-122"/>
                <a:ea typeface="微软雅黑" panose="020B0503020204020204" pitchFamily="34" charset="-122"/>
              </a:rPr>
              <a:t>Фото шоурума</a:t>
            </a: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2117890" y="3632480"/>
            <a:ext cx="4032250" cy="2448743"/>
          </a:xfrm>
          <a:prstGeom prst="rect">
            <a:avLst/>
          </a:prstGeom>
          <a:solidFill>
            <a:srgbClr val="39AEB2">
              <a:alpha val="2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algn="ctr"/>
            <a:r>
              <a:rPr lang="ru-RU" dirty="0">
                <a:latin typeface="微软雅黑" panose="020B0503020204020204" pitchFamily="34" charset="-122"/>
                <a:ea typeface="微软雅黑" panose="020B0503020204020204" pitchFamily="34" charset="-122"/>
              </a:rPr>
              <a:t>Фото шоурума со 2 этажа </a:t>
            </a:r>
          </a:p>
          <a:p>
            <a:pPr algn="ctr"/>
            <a:r>
              <a:rPr lang="ru-RU" dirty="0">
                <a:latin typeface="微软雅黑" panose="020B0503020204020204" pitchFamily="34" charset="-122"/>
                <a:ea typeface="微软雅黑" panose="020B0503020204020204" pitchFamily="34" charset="-122"/>
              </a:rPr>
              <a:t>или обзорное</a:t>
            </a: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2118088" y="1039721"/>
            <a:ext cx="4032250" cy="2448743"/>
          </a:xfrm>
          <a:prstGeom prst="rect">
            <a:avLst/>
          </a:prstGeom>
          <a:solidFill>
            <a:srgbClr val="39AEB2">
              <a:alpha val="2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algn="ctr"/>
            <a:r>
              <a:rPr lang="ru-RU" dirty="0">
                <a:latin typeface="微软雅黑" panose="020B0503020204020204" pitchFamily="34" charset="-122"/>
                <a:ea typeface="微软雅黑" panose="020B0503020204020204" pitchFamily="34" charset="-122"/>
              </a:rPr>
              <a:t>Фото шоурума</a:t>
            </a:r>
          </a:p>
        </p:txBody>
      </p:sp>
    </p:spTree>
    <p:extLst>
      <p:ext uri="{BB962C8B-B14F-4D97-AF65-F5344CB8AC3E}">
        <p14:creationId xmlns:p14="http://schemas.microsoft.com/office/powerpoint/2010/main" val="302840227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/>
        </p:nvSpPr>
        <p:spPr bwMode="auto">
          <a:xfrm>
            <a:off x="414176" y="110016"/>
            <a:ext cx="8352928" cy="571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4C4C4C"/>
                </a:solidFill>
                <a:latin typeface="微软雅黑" pitchFamily="34" charset="-122"/>
                <a:ea typeface="微软雅黑" pitchFamily="34" charset="-122"/>
                <a:cs typeface="Hiragino Sans GB W6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4C4C4C"/>
                </a:solidFill>
                <a:latin typeface="Hiragino Sans GB W6"/>
                <a:ea typeface="Hiragino Sans GB W6"/>
                <a:cs typeface="Hiragino Sans GB W6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4C4C4C"/>
                </a:solidFill>
                <a:latin typeface="Hiragino Sans GB W6"/>
                <a:ea typeface="Hiragino Sans GB W6"/>
                <a:cs typeface="Hiragino Sans GB W6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4C4C4C"/>
                </a:solidFill>
                <a:latin typeface="Hiragino Sans GB W6"/>
                <a:ea typeface="Hiragino Sans GB W6"/>
                <a:cs typeface="Hiragino Sans GB W6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4C4C4C"/>
                </a:solidFill>
                <a:latin typeface="Hiragino Sans GB W6"/>
                <a:ea typeface="Hiragino Sans GB W6"/>
                <a:cs typeface="Hiragino Sans GB W6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r>
              <a:rPr lang="ru-RU" sz="2600" b="1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СУЩЕСТВУЮЩИЙ ВИД (фото сервисной зоны)</a:t>
            </a:r>
          </a:p>
        </p:txBody>
      </p:sp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6302552" y="3750410"/>
            <a:ext cx="4032250" cy="2448743"/>
          </a:xfrm>
          <a:prstGeom prst="rect">
            <a:avLst/>
          </a:prstGeom>
          <a:solidFill>
            <a:srgbClr val="39AEB2">
              <a:alpha val="2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algn="ctr"/>
            <a:r>
              <a:rPr lang="ru-RU" dirty="0">
                <a:latin typeface="微软雅黑" panose="020B0503020204020204" pitchFamily="34" charset="-122"/>
                <a:ea typeface="微软雅黑" panose="020B0503020204020204" pitchFamily="34" charset="-122"/>
              </a:rPr>
              <a:t>Дополнительное фото</a:t>
            </a: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6302354" y="1159064"/>
            <a:ext cx="4032250" cy="2448743"/>
          </a:xfrm>
          <a:prstGeom prst="rect">
            <a:avLst/>
          </a:prstGeom>
          <a:solidFill>
            <a:srgbClr val="39AEB2">
              <a:alpha val="2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algn="ctr"/>
            <a:r>
              <a:rPr lang="ru-RU" dirty="0">
                <a:latin typeface="微软雅黑" panose="020B0503020204020204" pitchFamily="34" charset="-122"/>
                <a:ea typeface="微软雅黑" panose="020B0503020204020204" pitchFamily="34" charset="-122"/>
              </a:rPr>
              <a:t>Фото сервиса</a:t>
            </a: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2053882" y="3751352"/>
            <a:ext cx="4032250" cy="2448743"/>
          </a:xfrm>
          <a:prstGeom prst="rect">
            <a:avLst/>
          </a:prstGeom>
          <a:solidFill>
            <a:srgbClr val="39AEB2">
              <a:alpha val="2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algn="ctr"/>
            <a:r>
              <a:rPr lang="ru-RU" dirty="0">
                <a:latin typeface="微软雅黑" panose="020B0503020204020204" pitchFamily="34" charset="-122"/>
                <a:ea typeface="微软雅黑" panose="020B0503020204020204" pitchFamily="34" charset="-122"/>
              </a:rPr>
              <a:t>Дополнительное фото</a:t>
            </a: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2054080" y="1158593"/>
            <a:ext cx="4032250" cy="2448743"/>
          </a:xfrm>
          <a:prstGeom prst="rect">
            <a:avLst/>
          </a:prstGeom>
          <a:solidFill>
            <a:srgbClr val="39AEB2">
              <a:alpha val="2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algn="ctr"/>
            <a:r>
              <a:rPr lang="ru-RU" dirty="0">
                <a:latin typeface="微软雅黑" panose="020B0503020204020204" pitchFamily="34" charset="-122"/>
                <a:ea typeface="微软雅黑" panose="020B0503020204020204" pitchFamily="34" charset="-122"/>
              </a:rPr>
              <a:t>Фото сервиса</a:t>
            </a:r>
          </a:p>
        </p:txBody>
      </p:sp>
    </p:spTree>
    <p:extLst>
      <p:ext uri="{BB962C8B-B14F-4D97-AF65-F5344CB8AC3E}">
        <p14:creationId xmlns:p14="http://schemas.microsoft.com/office/powerpoint/2010/main" val="340241150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457199" y="184708"/>
            <a:ext cx="6419461" cy="424732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r>
              <a:rPr lang="ru-RU" altLang="zh-CN" sz="2400" b="1" dirty="0">
                <a:latin typeface="+mj-ea"/>
                <a:ea typeface="+mj-ea"/>
                <a:cs typeface="Arial Unicode MS" panose="020B0604020202020204" pitchFamily="34" charset="-122"/>
              </a:rPr>
              <a:t>Декларация компании-заявителя</a:t>
            </a:r>
            <a:endParaRPr lang="zh-CN" altLang="zh-CN" sz="2400" b="1" dirty="0">
              <a:latin typeface="+mj-ea"/>
              <a:ea typeface="+mj-ea"/>
              <a:cs typeface="Arial Unicode MS" panose="020B0604020202020204" pitchFamily="34" charset="-122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324421" y="817215"/>
            <a:ext cx="11436029" cy="5139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7168" indent="-257168" algn="just">
              <a:lnSpc>
                <a:spcPct val="150000"/>
              </a:lnSpc>
              <a:buFont typeface="+mj-lt"/>
              <a:buAutoNum type="arabicPeriod"/>
            </a:pPr>
            <a:r>
              <a:rPr lang="ru-RU" altLang="zh-CN" sz="1100" kern="100" dirty="0">
                <a:ea typeface="+mj-ea"/>
                <a:cs typeface="Times New Roman" panose="02020603050405020304" pitchFamily="18" charset="0"/>
              </a:rPr>
              <a:t>Компания-заявитель обещает предоставить все требуемые в заявке достоверные материалы. Если из-за неполных или недостоверных данных ООО «</a:t>
            </a:r>
            <a:r>
              <a:rPr lang="ru-RU" altLang="zh-CN" sz="1100" kern="100" dirty="0" err="1">
                <a:ea typeface="+mj-ea"/>
                <a:cs typeface="Times New Roman" panose="02020603050405020304" pitchFamily="18" charset="0"/>
              </a:rPr>
              <a:t>Джетур</a:t>
            </a:r>
            <a:r>
              <a:rPr lang="ru-RU" altLang="zh-CN" sz="1100" kern="100" dirty="0">
                <a:ea typeface="+mj-ea"/>
                <a:cs typeface="Times New Roman" panose="02020603050405020304" pitchFamily="18" charset="0"/>
              </a:rPr>
              <a:t> Мотор Рус» примет отрицательное решение, вся ответственность ложится на компанию-заявителя;</a:t>
            </a:r>
            <a:endParaRPr lang="zh-CN" altLang="zh-CN" sz="1100" kern="100" dirty="0">
              <a:ea typeface="+mj-ea"/>
              <a:cs typeface="Times New Roman" panose="02020603050405020304" pitchFamily="18" charset="0"/>
            </a:endParaRPr>
          </a:p>
          <a:p>
            <a:pPr marL="257168" indent="-257168" algn="just">
              <a:lnSpc>
                <a:spcPct val="150000"/>
              </a:lnSpc>
              <a:buFont typeface="+mj-lt"/>
              <a:buAutoNum type="arabicPeriod"/>
            </a:pPr>
            <a:r>
              <a:rPr lang="ru-RU" altLang="zh-CN" sz="1100" dirty="0">
                <a:ea typeface="+mj-ea"/>
                <a:cs typeface="Times New Roman" panose="02020603050405020304" pitchFamily="18" charset="0"/>
              </a:rPr>
              <a:t>Если обнаружится, что в представленных материалах есть ошибки или ложные сведения, ООО </a:t>
            </a:r>
            <a:r>
              <a:rPr lang="ru-RU" altLang="zh-CN" sz="1100" kern="100" dirty="0">
                <a:ea typeface="+mj-ea"/>
                <a:cs typeface="Times New Roman" panose="02020603050405020304" pitchFamily="18" charset="0"/>
              </a:rPr>
              <a:t>«</a:t>
            </a:r>
            <a:r>
              <a:rPr lang="ru-RU" altLang="zh-CN" sz="1100" kern="100" dirty="0" err="1">
                <a:ea typeface="+mj-ea"/>
                <a:cs typeface="Times New Roman" panose="02020603050405020304" pitchFamily="18" charset="0"/>
              </a:rPr>
              <a:t>Джетур</a:t>
            </a:r>
            <a:r>
              <a:rPr lang="ru-RU" altLang="zh-CN" sz="1100" kern="100" dirty="0">
                <a:ea typeface="+mj-ea"/>
                <a:cs typeface="Times New Roman" panose="02020603050405020304" pitchFamily="18" charset="0"/>
              </a:rPr>
              <a:t> Мотор Рус»  </a:t>
            </a:r>
            <a:r>
              <a:rPr lang="ru-RU" altLang="zh-CN" sz="1100" dirty="0">
                <a:ea typeface="+mj-ea"/>
                <a:cs typeface="Times New Roman" panose="02020603050405020304" pitchFamily="18" charset="0"/>
              </a:rPr>
              <a:t>имеет право отказать в рассмотрении заявки, отменить статус дилера или немедленно прекратить любые соглашения, подписанные с компанией-заявителем;</a:t>
            </a:r>
            <a:endParaRPr lang="zh-CN" altLang="zh-CN" sz="1100" kern="100" dirty="0">
              <a:ea typeface="+mj-ea"/>
              <a:cs typeface="Times New Roman" panose="02020603050405020304" pitchFamily="18" charset="0"/>
            </a:endParaRPr>
          </a:p>
          <a:p>
            <a:pPr marL="257168" indent="-257168" algn="just">
              <a:lnSpc>
                <a:spcPct val="150000"/>
              </a:lnSpc>
              <a:buFont typeface="+mj-lt"/>
              <a:buAutoNum type="arabicPeriod"/>
            </a:pPr>
            <a:r>
              <a:rPr lang="ru-RU" altLang="zh-CN" sz="1100" dirty="0">
                <a:ea typeface="+mj-ea"/>
                <a:cs typeface="Times New Roman" panose="02020603050405020304" pitchFamily="18" charset="0"/>
              </a:rPr>
              <a:t>Компания-заявитель согласна на проверку ООО </a:t>
            </a:r>
            <a:r>
              <a:rPr lang="ru-RU" altLang="zh-CN" sz="1100" kern="100" dirty="0">
                <a:ea typeface="+mj-ea"/>
                <a:cs typeface="Times New Roman" panose="02020603050405020304" pitchFamily="18" charset="0"/>
              </a:rPr>
              <a:t>«Джетур Мотор Рус» </a:t>
            </a:r>
            <a:r>
              <a:rPr lang="ru-RU" altLang="zh-CN" sz="1100" dirty="0">
                <a:ea typeface="+mj-ea"/>
                <a:cs typeface="Times New Roman" panose="02020603050405020304" pitchFamily="18" charset="0"/>
              </a:rPr>
              <a:t>тех материалов, которые посчитает необходимым рассмотреть, и это не будет считаться нарушением ее прав;</a:t>
            </a:r>
            <a:endParaRPr lang="en-US" altLang="zh-CN" sz="1100" kern="100" dirty="0">
              <a:ea typeface="+mj-ea"/>
              <a:cs typeface="Times New Roman" panose="02020603050405020304" pitchFamily="18" charset="0"/>
            </a:endParaRPr>
          </a:p>
          <a:p>
            <a:pPr marL="257168" indent="-257168" algn="just">
              <a:lnSpc>
                <a:spcPct val="150000"/>
              </a:lnSpc>
              <a:buFont typeface="+mj-lt"/>
              <a:buAutoNum type="arabicPeriod"/>
            </a:pPr>
            <a:r>
              <a:rPr lang="ru-RU" altLang="zh-CN" sz="1100" dirty="0">
                <a:ea typeface="+mj-ea"/>
                <a:cs typeface="Times New Roman" panose="02020603050405020304" pitchFamily="18" charset="0"/>
              </a:rPr>
              <a:t>Учитывая, что ООО </a:t>
            </a:r>
            <a:r>
              <a:rPr lang="ru-RU" altLang="zh-CN" sz="1100" kern="100" dirty="0">
                <a:ea typeface="+mj-ea"/>
                <a:cs typeface="Times New Roman" panose="02020603050405020304" pitchFamily="18" charset="0"/>
              </a:rPr>
              <a:t>«</a:t>
            </a:r>
            <a:r>
              <a:rPr lang="ru-RU" altLang="zh-CN" sz="1100" kern="100" dirty="0" err="1">
                <a:ea typeface="+mj-ea"/>
                <a:cs typeface="Times New Roman" panose="02020603050405020304" pitchFamily="18" charset="0"/>
              </a:rPr>
              <a:t>Джетур</a:t>
            </a:r>
            <a:r>
              <a:rPr lang="ru-RU" altLang="zh-CN" sz="1100" kern="100" dirty="0">
                <a:ea typeface="+mj-ea"/>
                <a:cs typeface="Times New Roman" panose="02020603050405020304" pitchFamily="18" charset="0"/>
              </a:rPr>
              <a:t> Мотор Рус» </a:t>
            </a:r>
            <a:r>
              <a:rPr lang="ru-RU" altLang="zh-CN" sz="1100" dirty="0">
                <a:ea typeface="+mj-ea"/>
                <a:cs typeface="Times New Roman" panose="02020603050405020304" pitchFamily="18" charset="0"/>
              </a:rPr>
              <a:t>обещает сохранить конфиденциальность всех материалов заявителя, все документы (оригиналы или копии), изображения и другие материалы, предоставленные компанией-заявителем в процессе подачи заявки, в будущем станут собственностью ООО </a:t>
            </a:r>
            <a:r>
              <a:rPr lang="ru-RU" altLang="zh-CN" sz="1100" kern="100" dirty="0">
                <a:ea typeface="+mj-ea"/>
                <a:cs typeface="Times New Roman" panose="02020603050405020304" pitchFamily="18" charset="0"/>
              </a:rPr>
              <a:t>«</a:t>
            </a:r>
            <a:r>
              <a:rPr lang="ru-RU" altLang="zh-CN" sz="1100" kern="100" dirty="0" err="1">
                <a:ea typeface="+mj-ea"/>
                <a:cs typeface="Times New Roman" panose="02020603050405020304" pitchFamily="18" charset="0"/>
              </a:rPr>
              <a:t>Джетур</a:t>
            </a:r>
            <a:r>
              <a:rPr lang="ru-RU" altLang="zh-CN" sz="1100" kern="100" dirty="0">
                <a:ea typeface="+mj-ea"/>
                <a:cs typeface="Times New Roman" panose="02020603050405020304" pitchFamily="18" charset="0"/>
              </a:rPr>
              <a:t> Мотор Рус» </a:t>
            </a:r>
            <a:r>
              <a:rPr lang="ru-RU" altLang="zh-CN" sz="1100" dirty="0">
                <a:ea typeface="+mj-ea"/>
                <a:cs typeface="Times New Roman" panose="02020603050405020304" pitchFamily="18" charset="0"/>
              </a:rPr>
              <a:t>и будут храниться у нее.</a:t>
            </a:r>
          </a:p>
          <a:p>
            <a:pPr marL="257168" indent="-257168" algn="just">
              <a:lnSpc>
                <a:spcPct val="150000"/>
              </a:lnSpc>
              <a:buFont typeface="+mj-lt"/>
              <a:buAutoNum type="arabicPeriod"/>
            </a:pPr>
            <a:r>
              <a:rPr lang="ru-RU" altLang="zh-CN" sz="1100" dirty="0">
                <a:ea typeface="+mj-ea"/>
                <a:cs typeface="Times New Roman" panose="02020603050405020304" pitchFamily="18" charset="0"/>
              </a:rPr>
              <a:t>Если ООО «</a:t>
            </a:r>
            <a:r>
              <a:rPr lang="ru-RU" altLang="zh-CN" sz="1100" dirty="0" err="1">
                <a:ea typeface="+mj-ea"/>
                <a:cs typeface="Times New Roman" panose="02020603050405020304" pitchFamily="18" charset="0"/>
              </a:rPr>
              <a:t>Джетур</a:t>
            </a:r>
            <a:r>
              <a:rPr lang="ru-RU" altLang="zh-CN" sz="1100" dirty="0">
                <a:ea typeface="+mj-ea"/>
                <a:cs typeface="Times New Roman" panose="02020603050405020304" pitchFamily="18" charset="0"/>
              </a:rPr>
              <a:t> Мотор Рус» потребует от компании-заявителя предоставить дополнительные материалы по заявке, компания-заявитель должна предоставить их. В противном случае ООО «</a:t>
            </a:r>
            <a:r>
              <a:rPr lang="ru-RU" altLang="zh-CN" sz="1100" dirty="0" err="1">
                <a:ea typeface="+mj-ea"/>
                <a:cs typeface="Times New Roman" panose="02020603050405020304" pitchFamily="18" charset="0"/>
              </a:rPr>
              <a:t>Джетур</a:t>
            </a:r>
            <a:r>
              <a:rPr lang="ru-RU" altLang="zh-CN" sz="1100" dirty="0">
                <a:ea typeface="+mj-ea"/>
                <a:cs typeface="Times New Roman" panose="02020603050405020304" pitchFamily="18" charset="0"/>
              </a:rPr>
              <a:t> Мотор Рус» имеет право отказать в рассмотрении заявки;</a:t>
            </a:r>
            <a:endParaRPr lang="zh-CN" altLang="zh-CN" sz="1100" dirty="0">
              <a:ea typeface="+mj-ea"/>
              <a:cs typeface="Times New Roman" panose="02020603050405020304" pitchFamily="18" charset="0"/>
            </a:endParaRPr>
          </a:p>
          <a:p>
            <a:pPr marL="257168" indent="-257168" algn="just">
              <a:lnSpc>
                <a:spcPct val="150000"/>
              </a:lnSpc>
              <a:buFont typeface="+mj-lt"/>
              <a:buAutoNum type="arabicPeriod"/>
            </a:pPr>
            <a:r>
              <a:rPr lang="ru-RU" altLang="zh-CN" sz="1100" kern="100" dirty="0">
                <a:ea typeface="+mj-ea"/>
                <a:cs typeface="Times New Roman" panose="02020603050405020304" pitchFamily="18" charset="0"/>
              </a:rPr>
              <a:t>Компания-заявитель должна гарантировать, что обладает независимой способностью принимать решения и выполнять обязательства по последующему сотрудничеству.</a:t>
            </a:r>
            <a:endParaRPr lang="en-US" altLang="zh-CN" sz="1100" kern="100" dirty="0">
              <a:ea typeface="+mj-ea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</a:pPr>
            <a:endParaRPr lang="en-US" altLang="zh-CN" sz="1100" kern="100" dirty="0">
              <a:ea typeface="+mj-ea"/>
              <a:cs typeface="Times New Roman" panose="02020603050405020304" pitchFamily="18" charset="0"/>
            </a:endParaRPr>
          </a:p>
          <a:p>
            <a:pPr marL="257168" indent="-257168" algn="just">
              <a:lnSpc>
                <a:spcPct val="150000"/>
              </a:lnSpc>
              <a:buFont typeface="+mj-lt"/>
              <a:buAutoNum type="arabicPeriod"/>
            </a:pPr>
            <a:endParaRPr lang="zh-CN" altLang="zh-CN" sz="1100" kern="100" dirty="0">
              <a:ea typeface="+mj-ea"/>
              <a:cs typeface="Times New Roman" panose="02020603050405020304" pitchFamily="18" charset="0"/>
            </a:endParaRPr>
          </a:p>
          <a:p>
            <a:pPr marL="400041" indent="200020" algn="just">
              <a:lnSpc>
                <a:spcPct val="150000"/>
              </a:lnSpc>
            </a:pPr>
            <a:r>
              <a:rPr lang="ru-RU" altLang="zh-CN" sz="1100" kern="100" dirty="0">
                <a:ea typeface="+mj-ea"/>
                <a:cs typeface="Times New Roman" panose="02020603050405020304" pitchFamily="18" charset="0"/>
              </a:rPr>
              <a:t>							Компания (печать)</a:t>
            </a:r>
            <a:r>
              <a:rPr lang="zh-CN" altLang="zh-CN" sz="1100" kern="100" dirty="0">
                <a:ea typeface="+mj-ea"/>
                <a:cs typeface="Times New Roman" panose="02020603050405020304" pitchFamily="18" charset="0"/>
              </a:rPr>
              <a:t>：</a:t>
            </a:r>
          </a:p>
          <a:p>
            <a:pPr>
              <a:lnSpc>
                <a:spcPct val="150000"/>
              </a:lnSpc>
            </a:pPr>
            <a:r>
              <a:rPr lang="en-US" altLang="zh-CN" sz="1100" kern="100" dirty="0">
                <a:ea typeface="+mj-ea"/>
                <a:cs typeface="Times New Roman" panose="02020603050405020304" pitchFamily="18" charset="0"/>
              </a:rPr>
              <a:t> </a:t>
            </a:r>
            <a:endParaRPr lang="zh-CN" altLang="zh-CN" sz="1100" kern="100" dirty="0">
              <a:ea typeface="+mj-ea"/>
              <a:cs typeface="Times New Roman" panose="02020603050405020304" pitchFamily="18" charset="0"/>
            </a:endParaRPr>
          </a:p>
          <a:p>
            <a:pPr marL="400041" indent="200020" algn="just">
              <a:lnSpc>
                <a:spcPct val="150000"/>
              </a:lnSpc>
            </a:pPr>
            <a:r>
              <a:rPr lang="en-US" altLang="zh-CN" sz="1100" kern="100" dirty="0">
                <a:ea typeface="+mj-ea"/>
                <a:cs typeface="Times New Roman" panose="02020603050405020304" pitchFamily="18" charset="0"/>
              </a:rPr>
              <a:t>                                                                                                                                    </a:t>
            </a:r>
            <a:r>
              <a:rPr lang="ru-RU" altLang="zh-CN" sz="1100" kern="100" dirty="0">
                <a:ea typeface="+mj-ea"/>
                <a:cs typeface="Times New Roman" panose="02020603050405020304" pitchFamily="18" charset="0"/>
              </a:rPr>
              <a:t>	Подпись представителя</a:t>
            </a:r>
            <a:r>
              <a:rPr lang="zh-CN" altLang="zh-CN" sz="1100" kern="100" dirty="0">
                <a:ea typeface="+mj-ea"/>
                <a:cs typeface="Times New Roman" panose="02020603050405020304" pitchFamily="18" charset="0"/>
              </a:rPr>
              <a:t>：</a:t>
            </a:r>
          </a:p>
          <a:p>
            <a:pPr algn="just">
              <a:lnSpc>
                <a:spcPct val="150000"/>
              </a:lnSpc>
            </a:pPr>
            <a:r>
              <a:rPr lang="en-US" altLang="zh-CN" sz="1100" kern="100" dirty="0">
                <a:ea typeface="+mj-ea"/>
                <a:cs typeface="Times New Roman" panose="02020603050405020304" pitchFamily="18" charset="0"/>
              </a:rPr>
              <a:t> </a:t>
            </a:r>
            <a:endParaRPr lang="zh-CN" altLang="zh-CN" sz="1100" kern="100" dirty="0">
              <a:ea typeface="+mj-ea"/>
              <a:cs typeface="Times New Roman" panose="02020603050405020304" pitchFamily="18" charset="0"/>
            </a:endParaRPr>
          </a:p>
          <a:p>
            <a:pPr indent="600060" algn="just">
              <a:lnSpc>
                <a:spcPct val="150000"/>
              </a:lnSpc>
            </a:pPr>
            <a:r>
              <a:rPr lang="en-US" altLang="zh-CN" sz="1100" kern="100" dirty="0">
                <a:ea typeface="+mj-ea"/>
                <a:cs typeface="Times New Roman" panose="02020603050405020304" pitchFamily="18" charset="0"/>
              </a:rPr>
              <a:t>                                                                                                                              </a:t>
            </a:r>
            <a:r>
              <a:rPr lang="ru-RU" altLang="zh-CN" sz="1100" kern="100" dirty="0">
                <a:ea typeface="+mj-ea"/>
                <a:cs typeface="Times New Roman" panose="02020603050405020304" pitchFamily="18" charset="0"/>
              </a:rPr>
              <a:t>		Дата:</a:t>
            </a:r>
            <a:endParaRPr lang="zh-CN" altLang="zh-CN" sz="1100" kern="100" dirty="0">
              <a:ea typeface="+mj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367889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109">
            <a:extLst>
              <a:ext uri="{FF2B5EF4-FFF2-40B4-BE49-F238E27FC236}">
                <a16:creationId xmlns:a16="http://schemas.microsoft.com/office/drawing/2014/main" id="{C14455F5-428A-4537-CA67-DF3F8092F8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714383"/>
              </p:ext>
            </p:extLst>
          </p:nvPr>
        </p:nvGraphicFramePr>
        <p:xfrm>
          <a:off x="551838" y="1138138"/>
          <a:ext cx="11016937" cy="4951377"/>
        </p:xfrm>
        <a:graphic>
          <a:graphicData uri="http://schemas.openxmlformats.org/drawingml/2006/table">
            <a:tbl>
              <a:tblPr/>
              <a:tblGrid>
                <a:gridCol w="26579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092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1822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0672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2479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834761">
                <a:tc gridSpan="5"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600" b="1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Руководители проекта</a:t>
                      </a:r>
                      <a:endParaRPr lang="ru-RU" sz="1600" b="1" i="0" u="none" strike="noStrike" cap="none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rgbClr val="39AEB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9560"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600" b="1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Должность</a:t>
                      </a:r>
                      <a:endParaRPr lang="ru-RU" sz="1600" b="1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600" b="1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Гендиректор</a:t>
                      </a:r>
                      <a:endParaRPr lang="ru-RU" sz="1600" b="1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600" b="1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Менеджер проекта</a:t>
                      </a:r>
                      <a:endParaRPr lang="ru-RU" sz="1600" b="1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9560"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600" b="1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ФИО</a:t>
                      </a:r>
                      <a:endParaRPr lang="ru-RU" sz="1600" b="1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ru-RU" sz="16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defRPr/>
                      </a:pPr>
                      <a:endParaRPr lang="ru-RU" sz="16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85642"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600" b="1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Контакты</a:t>
                      </a:r>
                      <a:endParaRPr lang="ru-RU" sz="1600" b="1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600" b="1" i="0" u="none" strike="noStrike" cap="non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Мобильный телефон</a:t>
                      </a:r>
                      <a:r>
                        <a:rPr lang="en-US" sz="1600" b="1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:</a:t>
                      </a:r>
                      <a:endParaRPr sz="1600" b="1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defRPr/>
                      </a:pPr>
                      <a:r>
                        <a:rPr lang="en-US" sz="1600" b="1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-mail:</a:t>
                      </a:r>
                      <a:endParaRPr lang="ru-RU" sz="1600" b="1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600" b="1" i="0" u="none" strike="noStrike" cap="non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Мобильный телефон</a:t>
                      </a:r>
                      <a:r>
                        <a:rPr lang="ru-RU" sz="1600" b="1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:</a:t>
                      </a:r>
                      <a:endParaRPr lang="ru-RU" sz="1600" b="1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defRPr/>
                      </a:pPr>
                      <a:r>
                        <a:rPr lang="en-US" sz="1600" b="1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-mail:</a:t>
                      </a:r>
                      <a:endParaRPr lang="en-US" sz="1600" b="1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9560"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600" b="1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Дата Рождения</a:t>
                      </a:r>
                      <a:endParaRPr lang="ru-RU" sz="1600" b="1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defRPr/>
                      </a:pPr>
                      <a:endParaRPr lang="ru-RU" sz="16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600" b="1" i="0" u="none" strike="noStrike" cap="non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Фото обязательно</a:t>
                      </a: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defRPr/>
                      </a:pPr>
                      <a:endParaRPr lang="ru-RU" sz="1600" b="0" i="0" u="none" strike="noStrike" cap="none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600" b="1" i="0" u="none" strike="noStrike" cap="non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Фото обязательно</a:t>
                      </a: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97601"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600" b="1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Образование</a:t>
                      </a:r>
                      <a:r>
                        <a:rPr lang="en-US" sz="1600" b="1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ru-RU" sz="1600" b="1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ВУЗ</a:t>
                      </a:r>
                      <a:r>
                        <a:rPr lang="en-US" sz="1600" b="1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  <a:endParaRPr lang="ru-RU" sz="1600" b="1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defRPr/>
                      </a:pPr>
                      <a:endParaRPr lang="ru-RU" sz="16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defRPr/>
                      </a:pPr>
                      <a:endParaRPr lang="ru-RU" sz="900" b="0" i="0" u="none" strike="noStrike" cap="none">
                        <a:ln>
                          <a:noFill/>
                        </a:ln>
                        <a:solidFill>
                          <a:schemeClr val="tx1"/>
                        </a:solidFill>
                        <a:latin typeface="+mn-lt"/>
                        <a:ea typeface="Modern H Medium"/>
                      </a:endParaRP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defRPr/>
                      </a:pPr>
                      <a:endParaRPr lang="ru-RU" sz="16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defRPr/>
                      </a:pPr>
                      <a:endParaRPr lang="ru-RU" sz="900" b="0" i="0" u="none" strike="noStrike" cap="none">
                        <a:ln>
                          <a:noFill/>
                        </a:ln>
                        <a:solidFill>
                          <a:schemeClr val="tx1"/>
                        </a:solidFill>
                        <a:latin typeface="+mn-lt"/>
                        <a:ea typeface="Modern H Medium"/>
                      </a:endParaRPr>
                    </a:p>
                  </a:txBody>
                  <a:tcPr marT="34290" marB="3429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204693"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600" b="1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Опыт работы</a:t>
                      </a:r>
                      <a:endParaRPr lang="ru-RU" sz="1600" b="1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ru-RU" sz="16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ru-RU" sz="900" b="0" i="0" u="none" strike="noStrike" cap="none">
                        <a:ln>
                          <a:noFill/>
                        </a:ln>
                        <a:solidFill>
                          <a:schemeClr val="tx1"/>
                        </a:solidFill>
                        <a:latin typeface="+mn-lt"/>
                        <a:ea typeface="Modern H Medium"/>
                      </a:endParaRP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defRPr/>
                      </a:pPr>
                      <a:endParaRPr lang="ru-RU" sz="16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defRPr/>
                      </a:pPr>
                      <a:endParaRPr lang="ru-RU" sz="900" b="0" i="0" u="none" strike="noStrike" cap="none">
                        <a:ln>
                          <a:noFill/>
                        </a:ln>
                        <a:solidFill>
                          <a:schemeClr val="tx1"/>
                        </a:solidFill>
                        <a:latin typeface="+mn-lt"/>
                        <a:ea typeface="Modern H Medium"/>
                      </a:endParaRPr>
                    </a:p>
                  </a:txBody>
                  <a:tcPr marT="34290" marB="3429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51E13E5A-86B7-9770-7E24-A9528055973F}"/>
              </a:ext>
            </a:extLst>
          </p:cNvPr>
          <p:cNvSpPr txBox="1">
            <a:spLocks/>
          </p:cNvSpPr>
          <p:nvPr/>
        </p:nvSpPr>
        <p:spPr>
          <a:xfrm>
            <a:off x="431538" y="265152"/>
            <a:ext cx="11137237" cy="57148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lang="ru-RU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ОБЩАЯ ИНФОРМАЦИЯ О КОМПАНИИ</a:t>
            </a:r>
          </a:p>
        </p:txBody>
      </p:sp>
    </p:spTree>
    <p:extLst>
      <p:ext uri="{BB962C8B-B14F-4D97-AF65-F5344CB8AC3E}">
        <p14:creationId xmlns:p14="http://schemas.microsoft.com/office/powerpoint/2010/main" val="21627118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442406" y="141441"/>
            <a:ext cx="460940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zh-CN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ИНФОРМАЦИЯ ОБ УЧЕРДИТЕЛЯХ</a:t>
            </a:r>
            <a:endParaRPr lang="zh-CN" altLang="en-US" sz="2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2" name="Group 264">
            <a:extLst>
              <a:ext uri="{FF2B5EF4-FFF2-40B4-BE49-F238E27FC236}">
                <a16:creationId xmlns:a16="http://schemas.microsoft.com/office/drawing/2014/main" id="{B15248ED-3F13-2569-ED71-6CC9350A8F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8043822"/>
              </p:ext>
            </p:extLst>
          </p:nvPr>
        </p:nvGraphicFramePr>
        <p:xfrm>
          <a:off x="651752" y="826851"/>
          <a:ext cx="10651787" cy="5746721"/>
        </p:xfrm>
        <a:graphic>
          <a:graphicData uri="http://schemas.openxmlformats.org/drawingml/2006/table">
            <a:tbl>
              <a:tblPr/>
              <a:tblGrid>
                <a:gridCol w="30437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994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9942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0922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54919">
                <a:tc gridSpan="4"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600" b="1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Учредители</a:t>
                      </a:r>
                      <a:endParaRPr lang="ru-RU" sz="1600" b="1" i="0" u="none" strike="noStrike" cap="none" dirty="0">
                        <a:ln>
                          <a:noFill/>
                        </a:ln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rgbClr val="39AEB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7916"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600" b="1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Ф. И. О.</a:t>
                      </a:r>
                      <a:endParaRPr lang="ru-RU" sz="1600" b="1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rgbClr val="D6E9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endParaRPr lang="ru-RU" sz="16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endParaRPr lang="ru-RU" sz="16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endParaRPr lang="ru-RU" sz="16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6835"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600" b="1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Дата рождения</a:t>
                      </a:r>
                      <a:endParaRPr lang="ru-RU" sz="1600" b="1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rgbClr val="D6E9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endParaRPr lang="ru-RU" sz="16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endParaRPr lang="ru-RU" sz="16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endParaRPr lang="ru-RU" sz="16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76835"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600" b="1" i="0" u="none" strike="noStrike" cap="non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Место жительства</a:t>
                      </a:r>
                    </a:p>
                  </a:txBody>
                  <a:tcPr marT="25718" marB="25718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endParaRPr lang="ru-RU" sz="16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endParaRPr lang="ru-RU" sz="16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endParaRPr lang="ru-RU" sz="16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0525894"/>
                  </a:ext>
                </a:extLst>
              </a:tr>
              <a:tr h="366062"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en-US" sz="1600" b="1" i="0" u="none" strike="noStrike" cap="non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-mail</a:t>
                      </a:r>
                      <a:endParaRPr lang="ru-RU" sz="1600" b="1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endParaRPr lang="ru-RU" sz="16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endParaRPr lang="ru-RU" sz="16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endParaRPr lang="ru-RU" sz="16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5153"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600" b="1" i="0" u="none" strike="noStrike" cap="non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Мобильный телефон</a:t>
                      </a:r>
                    </a:p>
                  </a:txBody>
                  <a:tcPr marT="25718" marB="25718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endParaRPr lang="ru-RU" sz="16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endParaRPr lang="ru-RU" sz="16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endParaRPr lang="ru-RU" sz="16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67568"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600" b="1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Сумма уставного капитала</a:t>
                      </a:r>
                      <a:endParaRPr lang="ru-RU" sz="1600" b="1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sz="1600" b="0" i="0" u="none" strike="noStrike" cap="non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Руб.</a:t>
                      </a: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sz="1600" b="0" i="0" u="none" strike="noStrike" cap="non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Руб.</a:t>
                      </a: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600" b="0" i="0" u="none" strike="noStrike" cap="non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Руб.</a:t>
                      </a: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7916"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600" b="1" i="0" u="none" strike="noStrike" cap="non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Доля уставного капитала</a:t>
                      </a:r>
                    </a:p>
                  </a:txBody>
                  <a:tcPr marT="25718" marB="25718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600" b="0" i="0" u="none" strike="noStrike" cap="non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%</a:t>
                      </a: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600" b="0" i="0" u="none" strike="noStrike" cap="non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%</a:t>
                      </a: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600" b="0" i="0" u="none" strike="noStrike" cap="non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%</a:t>
                      </a: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59041"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600" b="1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Сфера деятельности </a:t>
                      </a:r>
                      <a:endParaRPr lang="ru-RU" sz="1600" b="1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endParaRPr lang="ru-RU" sz="16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endParaRPr lang="ru-RU" sz="16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endParaRPr lang="ru-RU" sz="1600" b="0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419525"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endParaRPr lang="en-US" sz="1600" b="1" u="none" strike="noStrike" cap="none" dirty="0">
                        <a:ln>
                          <a:noFill/>
                        </a:ln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endParaRPr lang="en-US" sz="1600" b="1" u="none" strike="noStrike" cap="none" dirty="0">
                        <a:ln>
                          <a:noFill/>
                        </a:ln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600" b="1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Фото</a:t>
                      </a:r>
                      <a:endParaRPr lang="en-US" sz="1600" b="1" u="none" strike="noStrike" cap="none" dirty="0">
                        <a:ln>
                          <a:noFill/>
                        </a:ln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endParaRPr lang="en-US" sz="1600" b="1" u="none" strike="noStrike" cap="none" dirty="0">
                        <a:ln>
                          <a:noFill/>
                        </a:ln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endParaRPr lang="en-US" sz="1600" b="1" u="none" strike="noStrike" cap="none" dirty="0">
                        <a:ln>
                          <a:noFill/>
                        </a:ln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endParaRPr lang="ru-RU" sz="1600" b="1" i="0" u="none" strike="noStrike" cap="non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600" b="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Фото</a:t>
                      </a:r>
                      <a:endParaRPr lang="en-US" sz="1600" b="0" u="none" strike="noStrike" cap="none" dirty="0">
                        <a:ln>
                          <a:noFill/>
                        </a:ln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600" b="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Фото</a:t>
                      </a:r>
                      <a:endParaRPr lang="en-US" sz="1600" b="0" u="none" strike="noStrike" cap="none" dirty="0">
                        <a:ln>
                          <a:noFill/>
                        </a:ln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defRPr/>
                      </a:pPr>
                      <a:r>
                        <a:rPr lang="ru-RU" sz="1600" b="0" u="none" strike="noStrike" cap="none" dirty="0">
                          <a:ln>
                            <a:noFill/>
                          </a:ln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Фото</a:t>
                      </a:r>
                      <a:endParaRPr lang="en-US" sz="1600" b="0" u="none" strike="noStrike" cap="none" dirty="0">
                        <a:ln>
                          <a:noFill/>
                        </a:ln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25718" marB="25718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304046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/>
        </p:nvSpPr>
        <p:spPr bwMode="auto">
          <a:xfrm>
            <a:off x="447352" y="116596"/>
            <a:ext cx="11046656" cy="571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4C4C4C"/>
                </a:solidFill>
                <a:latin typeface="微软雅黑" pitchFamily="34" charset="-122"/>
                <a:ea typeface="微软雅黑" pitchFamily="34" charset="-122"/>
                <a:cs typeface="Hiragino Sans GB W6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4C4C4C"/>
                </a:solidFill>
                <a:latin typeface="Hiragino Sans GB W6"/>
                <a:ea typeface="Hiragino Sans GB W6"/>
                <a:cs typeface="Hiragino Sans GB W6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4C4C4C"/>
                </a:solidFill>
                <a:latin typeface="Hiragino Sans GB W6"/>
                <a:ea typeface="Hiragino Sans GB W6"/>
                <a:cs typeface="Hiragino Sans GB W6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4C4C4C"/>
                </a:solidFill>
                <a:latin typeface="Hiragino Sans GB W6"/>
                <a:ea typeface="Hiragino Sans GB W6"/>
                <a:cs typeface="Hiragino Sans GB W6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4C4C4C"/>
                </a:solidFill>
                <a:latin typeface="Hiragino Sans GB W6"/>
                <a:ea typeface="Hiragino Sans GB W6"/>
                <a:cs typeface="Hiragino Sans GB W6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r>
              <a:rPr lang="ru-RU" b="1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ОРГАНИЗАЦИОННАЯ СТРУКТУРА КОМПАНИИ</a:t>
            </a:r>
          </a:p>
        </p:txBody>
      </p:sp>
      <p:sp>
        <p:nvSpPr>
          <p:cNvPr id="4" name="TextBox 4"/>
          <p:cNvSpPr txBox="1"/>
          <p:nvPr/>
        </p:nvSpPr>
        <p:spPr>
          <a:xfrm>
            <a:off x="286512" y="5080664"/>
            <a:ext cx="11688237" cy="1015663"/>
          </a:xfrm>
          <a:prstGeom prst="rect">
            <a:avLst/>
          </a:prstGeom>
          <a:noFill/>
          <a:ln w="25400">
            <a:solidFill>
              <a:srgbClr val="39AEB2"/>
            </a:solidFill>
          </a:ln>
        </p:spPr>
        <p:txBody>
          <a:bodyPr wrap="square" rtlCol="0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algn="just"/>
            <a:r>
              <a:rPr lang="ru-RU" sz="2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Если компания, подающая заявку на получение статуса официального дилера, является частью группы компаний или холдинга, необходимо предоставить организационную структуру холдинга на следующем слайде.</a:t>
            </a:r>
          </a:p>
        </p:txBody>
      </p:sp>
      <p:pic>
        <p:nvPicPr>
          <p:cNvPr id="3" name="Picture 2" descr="http://www.bankreferatov.ru/Images/48/C325729F00717F7B43257B0B0009CE48/%D0%A3%D1%87%D0%B5%D1%82%20%D1%82%D1%80%D1%83%D0%B4%D0%B0%20%D0%B8%20%D0%B7%D0%B0%D1%80%D0%B0%D0%B1%D0%BE%D1%82%D0%BD%D0%BE%D0%B9%20%D0%BF%D0%BB%D0%B0%D1%82%D1%8B%20%D0%BD%D0%B0%20%D0%9E%D0%9E%D0%9E%20%D0%90%D0%B2%D1%82%D0%BE%D0%BC%D0%BE%D0%B1%D0%B8%D0%BB%D0%B8%20%D0%91%D0%B0%D0%B2%D0%B0%D1%80%D0%B8%D0%B8.doc/img1.gi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228" y="1101040"/>
            <a:ext cx="6730997" cy="3910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직사각형 3">
            <a:extLst>
              <a:ext uri="{FF2B5EF4-FFF2-40B4-BE49-F238E27FC236}">
                <a16:creationId xmlns:a16="http://schemas.microsoft.com/office/drawing/2014/main" id="{232D845C-A982-CC43-D26E-476CCDABFE64}"/>
              </a:ext>
            </a:extLst>
          </p:cNvPr>
          <p:cNvSpPr/>
          <p:nvPr/>
        </p:nvSpPr>
        <p:spPr>
          <a:xfrm>
            <a:off x="8559048" y="1350082"/>
            <a:ext cx="2199743" cy="427254"/>
          </a:xfrm>
          <a:prstGeom prst="rect">
            <a:avLst/>
          </a:prstGeom>
          <a:solidFill>
            <a:srgbClr val="39AEB2"/>
          </a:solidFill>
          <a:ln>
            <a:solidFill>
              <a:srgbClr val="002C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>
                <a:solidFill>
                  <a:schemeClr val="tx1"/>
                </a:solidFill>
                <a:latin typeface="Calibri Light" panose="020F0302020204030204" pitchFamily="34" charset="0"/>
                <a:ea typeface="Hyundai Sans Text" pitchFamily="34" charset="0"/>
              </a:rPr>
              <a:t>Пример</a:t>
            </a:r>
          </a:p>
        </p:txBody>
      </p:sp>
    </p:spTree>
    <p:extLst>
      <p:ext uri="{BB962C8B-B14F-4D97-AF65-F5344CB8AC3E}">
        <p14:creationId xmlns:p14="http://schemas.microsoft.com/office/powerpoint/2010/main" val="41775712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502508" y="185005"/>
            <a:ext cx="533293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zh-CN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ЛАНИРУЕМАЯ СТРУКТУРА ДЦ </a:t>
            </a:r>
            <a:r>
              <a:rPr lang="en-US" altLang="zh-CN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ETOUR</a:t>
            </a:r>
            <a:endParaRPr lang="zh-CN" altLang="en-US" sz="2400" b="1" dirty="0">
              <a:latin typeface="Calibri" panose="020F0502020204030204" pitchFamily="34" charset="0"/>
              <a:ea typeface="微软雅黑" panose="020B0503020204020204" pitchFamily="34" charset="-122"/>
              <a:cs typeface="Calibri" panose="020F0502020204030204" pitchFamily="34" charset="0"/>
            </a:endParaRPr>
          </a:p>
        </p:txBody>
      </p:sp>
      <p:pic>
        <p:nvPicPr>
          <p:cNvPr id="3" name="Рисунок 36">
            <a:extLst>
              <a:ext uri="{FF2B5EF4-FFF2-40B4-BE49-F238E27FC236}">
                <a16:creationId xmlns:a16="http://schemas.microsoft.com/office/drawing/2014/main" id="{DAD68C4A-FE82-610B-F90F-0842BEF545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8102" y="2119526"/>
            <a:ext cx="11665898" cy="3031075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502508" y="4127157"/>
            <a:ext cx="1449860" cy="205946"/>
          </a:xfrm>
          <a:prstGeom prst="rect">
            <a:avLst/>
          </a:prstGeom>
        </p:spPr>
        <p:txBody>
          <a:bodyPr vert="horz" wrap="square" lIns="36000" tIns="36000" rIns="36000" bIns="36000" rtlCol="0" anchor="t" anchorCtr="0">
            <a:noAutofit/>
          </a:bodyPr>
          <a:lstStyle/>
          <a:p>
            <a:pPr algn="ctr" defTabSz="914400">
              <a:lnSpc>
                <a:spcPct val="150000"/>
              </a:lnSpc>
              <a:spcBef>
                <a:spcPct val="0"/>
              </a:spcBef>
            </a:pPr>
            <a:r>
              <a:rPr lang="ru-RU" altLang="zh-CN" sz="1200" b="1" dirty="0">
                <a:solidFill>
                  <a:srgbClr val="39AEB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Количество: **</a:t>
            </a:r>
            <a:endParaRPr lang="zh-CN" altLang="en-US" sz="1200" b="1" dirty="0">
              <a:solidFill>
                <a:srgbClr val="39AEB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502508" y="5047628"/>
            <a:ext cx="1449860" cy="205946"/>
          </a:xfrm>
          <a:prstGeom prst="rect">
            <a:avLst/>
          </a:prstGeom>
        </p:spPr>
        <p:txBody>
          <a:bodyPr vert="horz" wrap="square" lIns="36000" tIns="36000" rIns="36000" bIns="36000" rtlCol="0" anchor="t" anchorCtr="0">
            <a:noAutofit/>
          </a:bodyPr>
          <a:lstStyle/>
          <a:p>
            <a:pPr algn="ctr" defTabSz="914400">
              <a:lnSpc>
                <a:spcPct val="150000"/>
              </a:lnSpc>
              <a:spcBef>
                <a:spcPct val="0"/>
              </a:spcBef>
            </a:pPr>
            <a:r>
              <a:rPr lang="ru-RU" altLang="zh-CN" sz="1200" b="1" dirty="0">
                <a:solidFill>
                  <a:srgbClr val="39AEB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Количество: **</a:t>
            </a:r>
            <a:endParaRPr lang="zh-CN" altLang="en-US" sz="1200" b="1" dirty="0">
              <a:solidFill>
                <a:srgbClr val="39AEB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2479352" y="4127157"/>
            <a:ext cx="1449860" cy="205946"/>
          </a:xfrm>
          <a:prstGeom prst="rect">
            <a:avLst/>
          </a:prstGeom>
        </p:spPr>
        <p:txBody>
          <a:bodyPr vert="horz" wrap="square" lIns="36000" tIns="36000" rIns="36000" bIns="36000" rtlCol="0" anchor="t" anchorCtr="0">
            <a:noAutofit/>
          </a:bodyPr>
          <a:lstStyle/>
          <a:p>
            <a:pPr algn="ctr" defTabSz="914400">
              <a:lnSpc>
                <a:spcPct val="150000"/>
              </a:lnSpc>
              <a:spcBef>
                <a:spcPct val="0"/>
              </a:spcBef>
            </a:pPr>
            <a:r>
              <a:rPr lang="ru-RU" altLang="zh-CN" sz="1200" b="1" dirty="0">
                <a:solidFill>
                  <a:srgbClr val="39AEB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Количество: **</a:t>
            </a:r>
            <a:endParaRPr lang="zh-CN" altLang="en-US" sz="1200" b="1" dirty="0">
              <a:solidFill>
                <a:srgbClr val="39AEB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2479352" y="5047628"/>
            <a:ext cx="1449860" cy="205946"/>
          </a:xfrm>
          <a:prstGeom prst="rect">
            <a:avLst/>
          </a:prstGeom>
        </p:spPr>
        <p:txBody>
          <a:bodyPr vert="horz" wrap="square" lIns="36000" tIns="36000" rIns="36000" bIns="36000" rtlCol="0" anchor="t" anchorCtr="0">
            <a:noAutofit/>
          </a:bodyPr>
          <a:lstStyle/>
          <a:p>
            <a:pPr algn="ctr" defTabSz="914400">
              <a:lnSpc>
                <a:spcPct val="150000"/>
              </a:lnSpc>
              <a:spcBef>
                <a:spcPct val="0"/>
              </a:spcBef>
            </a:pPr>
            <a:r>
              <a:rPr lang="ru-RU" altLang="zh-CN" sz="1200" b="1" dirty="0">
                <a:solidFill>
                  <a:srgbClr val="39AEB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Количество: **</a:t>
            </a:r>
            <a:endParaRPr lang="zh-CN" altLang="en-US" sz="1200" b="1" dirty="0">
              <a:solidFill>
                <a:srgbClr val="39AEB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4456196" y="4127157"/>
            <a:ext cx="1449860" cy="205946"/>
          </a:xfrm>
          <a:prstGeom prst="rect">
            <a:avLst/>
          </a:prstGeom>
        </p:spPr>
        <p:txBody>
          <a:bodyPr vert="horz" wrap="square" lIns="36000" tIns="36000" rIns="36000" bIns="36000" rtlCol="0" anchor="t" anchorCtr="0">
            <a:noAutofit/>
          </a:bodyPr>
          <a:lstStyle/>
          <a:p>
            <a:pPr algn="ctr" defTabSz="914400">
              <a:lnSpc>
                <a:spcPct val="150000"/>
              </a:lnSpc>
              <a:spcBef>
                <a:spcPct val="0"/>
              </a:spcBef>
            </a:pPr>
            <a:r>
              <a:rPr lang="ru-RU" altLang="zh-CN" sz="1200" b="1" dirty="0">
                <a:solidFill>
                  <a:srgbClr val="39AEB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Количество: **</a:t>
            </a:r>
            <a:endParaRPr lang="zh-CN" altLang="en-US" sz="1200" b="1" dirty="0">
              <a:solidFill>
                <a:srgbClr val="39AEB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4415007" y="5047628"/>
            <a:ext cx="1449860" cy="205946"/>
          </a:xfrm>
          <a:prstGeom prst="rect">
            <a:avLst/>
          </a:prstGeom>
        </p:spPr>
        <p:txBody>
          <a:bodyPr vert="horz" wrap="square" lIns="36000" tIns="36000" rIns="36000" bIns="36000" rtlCol="0" anchor="t" anchorCtr="0">
            <a:noAutofit/>
          </a:bodyPr>
          <a:lstStyle/>
          <a:p>
            <a:pPr algn="ctr" defTabSz="914400">
              <a:lnSpc>
                <a:spcPct val="150000"/>
              </a:lnSpc>
              <a:spcBef>
                <a:spcPct val="0"/>
              </a:spcBef>
            </a:pPr>
            <a:r>
              <a:rPr lang="ru-RU" altLang="zh-CN" sz="1200" b="1" dirty="0">
                <a:solidFill>
                  <a:srgbClr val="39AEB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Количество: **</a:t>
            </a:r>
            <a:endParaRPr lang="zh-CN" altLang="en-US" sz="1200" b="1" dirty="0">
              <a:solidFill>
                <a:srgbClr val="39AEB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6433040" y="4127157"/>
            <a:ext cx="1449860" cy="205946"/>
          </a:xfrm>
          <a:prstGeom prst="rect">
            <a:avLst/>
          </a:prstGeom>
        </p:spPr>
        <p:txBody>
          <a:bodyPr vert="horz" wrap="square" lIns="36000" tIns="36000" rIns="36000" bIns="36000" rtlCol="0" anchor="t" anchorCtr="0">
            <a:noAutofit/>
          </a:bodyPr>
          <a:lstStyle/>
          <a:p>
            <a:pPr algn="ctr" defTabSz="914400">
              <a:lnSpc>
                <a:spcPct val="150000"/>
              </a:lnSpc>
              <a:spcBef>
                <a:spcPct val="0"/>
              </a:spcBef>
            </a:pPr>
            <a:r>
              <a:rPr lang="ru-RU" altLang="zh-CN" sz="1200" b="1" dirty="0">
                <a:solidFill>
                  <a:srgbClr val="39AEB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Количество: **</a:t>
            </a:r>
            <a:endParaRPr lang="zh-CN" altLang="en-US" sz="1200" b="1" dirty="0">
              <a:solidFill>
                <a:srgbClr val="39AEB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6433040" y="5047628"/>
            <a:ext cx="1449860" cy="205946"/>
          </a:xfrm>
          <a:prstGeom prst="rect">
            <a:avLst/>
          </a:prstGeom>
        </p:spPr>
        <p:txBody>
          <a:bodyPr vert="horz" wrap="square" lIns="36000" tIns="36000" rIns="36000" bIns="36000" rtlCol="0" anchor="t" anchorCtr="0">
            <a:noAutofit/>
          </a:bodyPr>
          <a:lstStyle/>
          <a:p>
            <a:pPr algn="ctr" defTabSz="914400">
              <a:lnSpc>
                <a:spcPct val="150000"/>
              </a:lnSpc>
              <a:spcBef>
                <a:spcPct val="0"/>
              </a:spcBef>
            </a:pPr>
            <a:r>
              <a:rPr lang="ru-RU" altLang="zh-CN" sz="1200" b="1" dirty="0">
                <a:solidFill>
                  <a:srgbClr val="39AEB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Количество: **</a:t>
            </a:r>
            <a:endParaRPr lang="zh-CN" altLang="en-US" sz="1200" b="1" dirty="0">
              <a:solidFill>
                <a:srgbClr val="39AEB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8409884" y="4127157"/>
            <a:ext cx="1449860" cy="205946"/>
          </a:xfrm>
          <a:prstGeom prst="rect">
            <a:avLst/>
          </a:prstGeom>
        </p:spPr>
        <p:txBody>
          <a:bodyPr vert="horz" wrap="square" lIns="36000" tIns="36000" rIns="36000" bIns="36000" rtlCol="0" anchor="t" anchorCtr="0">
            <a:noAutofit/>
          </a:bodyPr>
          <a:lstStyle/>
          <a:p>
            <a:pPr algn="ctr" defTabSz="914400">
              <a:lnSpc>
                <a:spcPct val="150000"/>
              </a:lnSpc>
              <a:spcBef>
                <a:spcPct val="0"/>
              </a:spcBef>
            </a:pPr>
            <a:r>
              <a:rPr lang="ru-RU" altLang="zh-CN" sz="1200" b="1" dirty="0">
                <a:solidFill>
                  <a:srgbClr val="39AEB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Количество: **</a:t>
            </a:r>
            <a:endParaRPr lang="zh-CN" altLang="en-US" sz="1200" b="1" dirty="0">
              <a:solidFill>
                <a:srgbClr val="39AEB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8393409" y="5047628"/>
            <a:ext cx="1449860" cy="205946"/>
          </a:xfrm>
          <a:prstGeom prst="rect">
            <a:avLst/>
          </a:prstGeom>
        </p:spPr>
        <p:txBody>
          <a:bodyPr vert="horz" wrap="square" lIns="36000" tIns="36000" rIns="36000" bIns="36000" rtlCol="0" anchor="t" anchorCtr="0">
            <a:noAutofit/>
          </a:bodyPr>
          <a:lstStyle/>
          <a:p>
            <a:pPr algn="ctr" defTabSz="914400">
              <a:lnSpc>
                <a:spcPct val="150000"/>
              </a:lnSpc>
              <a:spcBef>
                <a:spcPct val="0"/>
              </a:spcBef>
            </a:pPr>
            <a:r>
              <a:rPr lang="ru-RU" altLang="zh-CN" sz="1200" b="1" dirty="0">
                <a:solidFill>
                  <a:srgbClr val="39AEB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Количество: **</a:t>
            </a:r>
            <a:endParaRPr lang="zh-CN" altLang="en-US" sz="1200" b="1" dirty="0">
              <a:solidFill>
                <a:srgbClr val="39AEB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10436155" y="4127157"/>
            <a:ext cx="1449860" cy="205946"/>
          </a:xfrm>
          <a:prstGeom prst="rect">
            <a:avLst/>
          </a:prstGeom>
        </p:spPr>
        <p:txBody>
          <a:bodyPr vert="horz" wrap="square" lIns="36000" tIns="36000" rIns="36000" bIns="36000" rtlCol="0" anchor="t" anchorCtr="0">
            <a:noAutofit/>
          </a:bodyPr>
          <a:lstStyle/>
          <a:p>
            <a:pPr algn="ctr" defTabSz="914400">
              <a:lnSpc>
                <a:spcPct val="150000"/>
              </a:lnSpc>
              <a:spcBef>
                <a:spcPct val="0"/>
              </a:spcBef>
            </a:pPr>
            <a:r>
              <a:rPr lang="ru-RU" altLang="zh-CN" sz="1200" b="1" dirty="0">
                <a:solidFill>
                  <a:srgbClr val="39AEB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Количество: **</a:t>
            </a:r>
            <a:endParaRPr lang="zh-CN" altLang="en-US" sz="1200" b="1" dirty="0">
              <a:solidFill>
                <a:srgbClr val="39AEB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10436155" y="5047628"/>
            <a:ext cx="1449860" cy="205946"/>
          </a:xfrm>
          <a:prstGeom prst="rect">
            <a:avLst/>
          </a:prstGeom>
        </p:spPr>
        <p:txBody>
          <a:bodyPr vert="horz" wrap="square" lIns="36000" tIns="36000" rIns="36000" bIns="36000" rtlCol="0" anchor="t" anchorCtr="0">
            <a:noAutofit/>
          </a:bodyPr>
          <a:lstStyle/>
          <a:p>
            <a:pPr algn="ctr" defTabSz="914400">
              <a:lnSpc>
                <a:spcPct val="150000"/>
              </a:lnSpc>
              <a:spcBef>
                <a:spcPct val="0"/>
              </a:spcBef>
            </a:pPr>
            <a:r>
              <a:rPr lang="ru-RU" altLang="zh-CN" sz="1200" b="1" dirty="0">
                <a:solidFill>
                  <a:srgbClr val="39AEB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Количество: **</a:t>
            </a:r>
            <a:endParaRPr lang="zh-CN" altLang="en-US" sz="1200" b="1" dirty="0">
              <a:solidFill>
                <a:srgbClr val="39AEB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TextBox 4">
            <a:extLst>
              <a:ext uri="{FF2B5EF4-FFF2-40B4-BE49-F238E27FC236}">
                <a16:creationId xmlns:a16="http://schemas.microsoft.com/office/drawing/2014/main" id="{E2664F5B-D585-B128-199B-C69B479D899D}"/>
              </a:ext>
            </a:extLst>
          </p:cNvPr>
          <p:cNvSpPr txBox="1"/>
          <p:nvPr/>
        </p:nvSpPr>
        <p:spPr>
          <a:xfrm>
            <a:off x="1431587" y="5703576"/>
            <a:ext cx="9328826" cy="501931"/>
          </a:xfrm>
          <a:prstGeom prst="rect">
            <a:avLst/>
          </a:prstGeom>
          <a:noFill/>
          <a:ln w="25400">
            <a:solidFill>
              <a:srgbClr val="39AEB2"/>
            </a:solidFill>
          </a:ln>
        </p:spPr>
        <p:txBody>
          <a:bodyPr wrap="square" rtlCol="0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ru-RU" altLang="zh-CN" sz="2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Указать количество сотрудников каждого отдела для  бренда </a:t>
            </a:r>
            <a:r>
              <a:rPr lang="ru-RU" altLang="zh-CN" sz="20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Джетур</a:t>
            </a:r>
            <a:r>
              <a:rPr lang="ru-RU" altLang="zh-CN" sz="2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обязательно</a:t>
            </a:r>
            <a:r>
              <a:rPr lang="ru-RU" altLang="zh-CN" sz="2000" dirty="0">
                <a:solidFill>
                  <a:srgbClr val="39AEB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sp>
        <p:nvSpPr>
          <p:cNvPr id="19" name="직사각형 3">
            <a:extLst>
              <a:ext uri="{FF2B5EF4-FFF2-40B4-BE49-F238E27FC236}">
                <a16:creationId xmlns:a16="http://schemas.microsoft.com/office/drawing/2014/main" id="{4FA91CAB-E65D-224B-3248-9C54FF02DC04}"/>
              </a:ext>
            </a:extLst>
          </p:cNvPr>
          <p:cNvSpPr/>
          <p:nvPr/>
        </p:nvSpPr>
        <p:spPr>
          <a:xfrm>
            <a:off x="8759872" y="1352924"/>
            <a:ext cx="2199743" cy="427254"/>
          </a:xfrm>
          <a:prstGeom prst="rect">
            <a:avLst/>
          </a:prstGeom>
          <a:solidFill>
            <a:srgbClr val="39AEB2"/>
          </a:solidFill>
          <a:ln>
            <a:solidFill>
              <a:srgbClr val="002C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>
                <a:solidFill>
                  <a:schemeClr val="tx1"/>
                </a:solidFill>
                <a:latin typeface="Calibri Light" panose="020F0302020204030204" pitchFamily="34" charset="0"/>
                <a:ea typeface="Hyundai Sans Text" pitchFamily="34" charset="0"/>
              </a:rPr>
              <a:t>Пример</a:t>
            </a:r>
          </a:p>
        </p:txBody>
      </p:sp>
    </p:spTree>
    <p:extLst>
      <p:ext uri="{BB962C8B-B14F-4D97-AF65-F5344CB8AC3E}">
        <p14:creationId xmlns:p14="http://schemas.microsoft.com/office/powerpoint/2010/main" val="41729476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431373" y="160231"/>
            <a:ext cx="11137237" cy="57148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ДАННЫЕ ПО СУЩЕСТВУЮЩЕМУ БИЗНЕСУ</a:t>
            </a:r>
          </a:p>
        </p:txBody>
      </p:sp>
      <p:graphicFrame>
        <p:nvGraphicFramePr>
          <p:cNvPr id="3" name="Group 106">
            <a:extLst>
              <a:ext uri="{FF2B5EF4-FFF2-40B4-BE49-F238E27FC236}">
                <a16:creationId xmlns:a16="http://schemas.microsoft.com/office/drawing/2014/main" id="{EA93DD93-4A6C-552E-E0B8-5D5D0005E8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2753794"/>
              </p:ext>
            </p:extLst>
          </p:nvPr>
        </p:nvGraphicFramePr>
        <p:xfrm>
          <a:off x="329739" y="978858"/>
          <a:ext cx="11532521" cy="4318237"/>
        </p:xfrm>
        <a:graphic>
          <a:graphicData uri="http://schemas.openxmlformats.org/drawingml/2006/table">
            <a:tbl>
              <a:tblPr/>
              <a:tblGrid>
                <a:gridCol w="28342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795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1404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0230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0230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0315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Бренды в портфолио кандидата</a:t>
                      </a:r>
                      <a:endParaRPr kumimoji="0" lang="ko-KR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Modern H Medium" pitchFamily="34" charset="-128"/>
                        <a:cs typeface="Calibri" panose="020F0502020204030204" pitchFamily="34" charset="0"/>
                      </a:endParaRPr>
                    </a:p>
                  </a:txBody>
                  <a:tcPr marL="110863" marR="110863" marT="41573" marB="4157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Бренд 1</a:t>
                      </a:r>
                      <a:endParaRPr kumimoji="0" lang="en-US" altLang="ko-KR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ko-K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Бренд 2</a:t>
                      </a:r>
                      <a:endParaRPr kumimoji="0" lang="en-US" altLang="ko-KR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ko-K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Бренд 3</a:t>
                      </a:r>
                      <a:endParaRPr kumimoji="0" lang="en-US" altLang="ko-KR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ko-K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Бренд 3</a:t>
                      </a:r>
                      <a:endParaRPr kumimoji="0" lang="en-US" altLang="ko-KR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37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Начало</a:t>
                      </a:r>
                      <a:r>
                        <a:rPr kumimoji="0" lang="en-US" altLang="ko-K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kumimoji="0" lang="ru-RU" altLang="ko-K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деятельности</a:t>
                      </a:r>
                      <a:endParaRPr kumimoji="0" lang="en-US" altLang="ko-KR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ДД/ММ/ГГГГ</a:t>
                      </a:r>
                      <a:endParaRPr kumimoji="0" lang="en-US" altLang="ko-KR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ko-K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ДД/ММ/ГГГГ</a:t>
                      </a:r>
                      <a:endParaRPr kumimoji="0" lang="en-US" altLang="ko-KR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ko-K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ДД/ММ/ГГГГ</a:t>
                      </a:r>
                      <a:endParaRPr kumimoji="0" lang="en-US" altLang="ko-KR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ko-K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ДД/ММ/ГГГГ</a:t>
                      </a:r>
                      <a:endParaRPr kumimoji="0" lang="en-US" altLang="ko-KR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37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Площадь шоурума/ сервиса</a:t>
                      </a:r>
                      <a:endParaRPr kumimoji="0" lang="ko-KR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Modern H Medium" pitchFamily="34" charset="-128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**</a:t>
                      </a:r>
                      <a:r>
                        <a:rPr kumimoji="0" lang="en-US" altLang="zh-CN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</a:t>
                      </a:r>
                      <a:r>
                        <a:rPr kumimoji="0" lang="en-US" altLang="zh-CN" sz="1400" b="0" i="0" u="none" strike="noStrike" kern="1200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kumimoji="0" lang="en-US" altLang="zh-CN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/**m</a:t>
                      </a:r>
                      <a:r>
                        <a:rPr kumimoji="0" lang="en-US" altLang="zh-CN" sz="1400" b="0" i="0" u="none" strike="noStrike" kern="1200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kumimoji="0" lang="en-US" altLang="ko-KR" sz="1400" b="0" i="0" u="none" strike="noStrike" kern="1200" cap="none" normalizeH="0" baseline="300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ko-KR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**</a:t>
                      </a:r>
                      <a:r>
                        <a:rPr kumimoji="0" lang="en-US" altLang="zh-CN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</a:t>
                      </a:r>
                      <a:r>
                        <a:rPr kumimoji="0" lang="en-US" altLang="zh-CN" sz="1400" b="0" i="0" u="none" strike="noStrike" kern="1200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kumimoji="0" lang="en-US" altLang="zh-CN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/**m</a:t>
                      </a:r>
                      <a:r>
                        <a:rPr kumimoji="0" lang="en-US" altLang="zh-CN" sz="1400" b="0" i="0" u="none" strike="noStrike" kern="1200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kumimoji="0" lang="en-US" altLang="ko-KR" sz="1400" b="0" i="0" u="none" strike="noStrike" kern="1200" cap="none" normalizeH="0" baseline="300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ko-KR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**</a:t>
                      </a:r>
                      <a:r>
                        <a:rPr kumimoji="0" lang="en-US" altLang="zh-CN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</a:t>
                      </a:r>
                      <a:r>
                        <a:rPr kumimoji="0" lang="en-US" altLang="zh-CN" sz="1400" b="0" i="0" u="none" strike="noStrike" kern="1200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kumimoji="0" lang="en-US" altLang="zh-CN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/**m</a:t>
                      </a:r>
                      <a:r>
                        <a:rPr kumimoji="0" lang="en-US" altLang="zh-CN" sz="1400" b="0" i="0" u="none" strike="noStrike" kern="1200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kumimoji="0" lang="en-US" altLang="ko-KR" sz="1400" b="0" i="0" u="none" strike="noStrike" kern="1200" cap="none" normalizeH="0" baseline="300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ko-KR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**</a:t>
                      </a:r>
                      <a:r>
                        <a:rPr kumimoji="0" lang="en-US" altLang="zh-CN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</a:t>
                      </a:r>
                      <a:r>
                        <a:rPr kumimoji="0" lang="en-US" altLang="zh-CN" sz="1400" b="0" i="0" u="none" strike="noStrike" kern="1200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kumimoji="0" lang="en-US" altLang="zh-CN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/**m</a:t>
                      </a:r>
                      <a:r>
                        <a:rPr kumimoji="0" lang="en-US" altLang="zh-CN" sz="1400" b="0" i="0" u="none" strike="noStrike" kern="1200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kumimoji="0" lang="en-US" altLang="ko-KR" sz="1400" b="0" i="0" u="none" strike="noStrike" kern="1200" cap="none" normalizeH="0" baseline="300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37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Тип дилерского центр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</a:t>
                      </a:r>
                      <a:r>
                        <a:rPr kumimoji="0" lang="ru-RU" altLang="ko-KR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монобренд</a:t>
                      </a:r>
                      <a:r>
                        <a:rPr kumimoji="0" lang="ru-RU" altLang="ko-K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/ </a:t>
                      </a:r>
                      <a:r>
                        <a:rPr kumimoji="0" lang="ru-RU" altLang="ko-KR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мультибренд</a:t>
                      </a:r>
                      <a:r>
                        <a:rPr kumimoji="0" lang="ru-RU" altLang="ko-K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  <a:endParaRPr kumimoji="0" lang="ko-KR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Modern H Medium" pitchFamily="34" charset="-128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altLang="ko-KR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en-US" altLang="ko-KR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en-US" altLang="ko-KR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en-US" altLang="ko-KR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37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Продажи </a:t>
                      </a:r>
                      <a:r>
                        <a:rPr kumimoji="0" lang="en-US" altLang="ko-K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2</a:t>
                      </a:r>
                      <a:r>
                        <a:rPr kumimoji="0" lang="ru-RU" altLang="ko-K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, шт.</a:t>
                      </a:r>
                      <a:endParaRPr kumimoji="0" lang="en-US" altLang="ko-KR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altLang="ko-KR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937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Продажи </a:t>
                      </a:r>
                      <a:r>
                        <a:rPr kumimoji="0" lang="en-US" altLang="ko-K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2</a:t>
                      </a:r>
                      <a:r>
                        <a:rPr kumimoji="0" lang="ru-RU" altLang="ko-K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, шт.</a:t>
                      </a:r>
                      <a:endParaRPr kumimoji="0" lang="ko-KR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Modern H Medium" pitchFamily="34" charset="-128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en-US" altLang="ko-KR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0863" marR="110863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en-US" altLang="ko-KR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0863" marR="110863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en-US" altLang="ko-KR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0863" marR="110863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en-US" altLang="ko-KR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0863" marR="110863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937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Кол-во сотрудников в 2024 году</a:t>
                      </a:r>
                      <a:endParaRPr kumimoji="0" lang="en-US" altLang="ko-KR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altLang="ko-KR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937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Наличие инвестиционных обязательств</a:t>
                      </a:r>
                      <a:endParaRPr kumimoji="0" lang="en-US" altLang="ko-KR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</a:t>
                      </a:r>
                      <a:r>
                        <a:rPr kumimoji="0" lang="ru-RU" altLang="ko-KR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да/нет)</a:t>
                      </a:r>
                      <a:endParaRPr kumimoji="0" lang="en-US" altLang="ko-KR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0863" marR="110863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</a:t>
                      </a:r>
                      <a:r>
                        <a:rPr kumimoji="0" lang="ru-RU" altLang="ko-KR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да/нет)</a:t>
                      </a:r>
                      <a:endParaRPr kumimoji="0" lang="en-US" altLang="ko-KR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0863" marR="110863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</a:t>
                      </a:r>
                      <a:r>
                        <a:rPr kumimoji="0" lang="ru-RU" altLang="ko-KR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да/нет)</a:t>
                      </a:r>
                      <a:endParaRPr kumimoji="0" lang="en-US" altLang="ko-KR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0863" marR="110863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</a:t>
                      </a:r>
                      <a:r>
                        <a:rPr kumimoji="0" lang="ru-RU" altLang="ko-KR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да/нет)</a:t>
                      </a:r>
                      <a:endParaRPr kumimoji="0" lang="en-US" altLang="ko-KR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0863" marR="110863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05015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ko-K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Фото</a:t>
                      </a:r>
                      <a:endParaRPr kumimoji="0" lang="en-US" altLang="ko-KR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0863" marR="110863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altLang="ko-KR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0863" marR="110863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altLang="ko-KR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0863" marR="110863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altLang="ko-KR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0863" marR="110863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altLang="ko-KR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10863" marR="110863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B791C2F7-A1CC-EEF6-E7CC-041CED7063A7}"/>
              </a:ext>
            </a:extLst>
          </p:cNvPr>
          <p:cNvSpPr txBox="1"/>
          <p:nvPr/>
        </p:nvSpPr>
        <p:spPr>
          <a:xfrm>
            <a:off x="5000017" y="5938005"/>
            <a:ext cx="6862243" cy="338554"/>
          </a:xfrm>
          <a:prstGeom prst="rect">
            <a:avLst/>
          </a:prstGeom>
          <a:solidFill>
            <a:schemeClr val="bg1"/>
          </a:solidFill>
          <a:ln w="19050">
            <a:solidFill>
              <a:srgbClr val="39AEB2"/>
            </a:solidFill>
          </a:ln>
        </p:spPr>
        <p:txBody>
          <a:bodyPr wrap="square" rtlCol="0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r>
              <a:rPr lang="ru-RU" altLang="zh-CN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Если</a:t>
            </a:r>
            <a:r>
              <a:rPr lang="en-US" altLang="zh-CN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altLang="zh-CN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в портфеле брендов есть авто с пробегом, то также добавить в таблицу.</a:t>
            </a:r>
            <a:endParaRPr lang="ru-RU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2276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32F060-BC4D-72FC-B315-E5EF9BA085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AD679E4-87A1-666C-9E35-D3BD3E2E0E9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31373" y="160231"/>
            <a:ext cx="11137237" cy="57148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РОДАЖИ ДИЛЕРА В ГОРОДЕ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4DB22FF8-CEDA-CC69-E4D0-0FAB02FDD25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15212069"/>
              </p:ext>
            </p:extLst>
          </p:nvPr>
        </p:nvGraphicFramePr>
        <p:xfrm>
          <a:off x="520979" y="1060621"/>
          <a:ext cx="10958024" cy="5098196"/>
        </p:xfrm>
        <a:graphic>
          <a:graphicData uri="http://schemas.openxmlformats.org/drawingml/2006/table">
            <a:tbl>
              <a:tblPr/>
              <a:tblGrid>
                <a:gridCol w="10478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211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4145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0964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2306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6255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5507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3762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648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07266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22213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457239">
                <a:tc gridSpan="6">
                  <a:txBody>
                    <a:bodyPr/>
                    <a:lstStyle/>
                    <a:p>
                      <a:pPr lvl="0" algn="ctr" defTabSz="914400" eaLnBrk="1" hangingPunct="1">
                        <a:lnSpc>
                          <a:spcPts val="1800"/>
                        </a:lnSpc>
                        <a:buNone/>
                        <a:tabLst>
                          <a:tab pos="736600" algn="l"/>
                          <a:tab pos="1492250" algn="l"/>
                          <a:tab pos="1830705" algn="l"/>
                          <a:tab pos="2311400" algn="l"/>
                          <a:tab pos="3030855" algn="l"/>
                          <a:tab pos="3608705" algn="l"/>
                          <a:tab pos="3724275" algn="l"/>
                          <a:tab pos="3883025" algn="l"/>
                          <a:tab pos="5127625" algn="l"/>
                          <a:tab pos="5243830" algn="l"/>
                        </a:tabLst>
                      </a:pPr>
                      <a:r>
                        <a:rPr lang="en-US" altLang="zh-CN" sz="1200" b="1" kern="1200" dirty="0">
                          <a:solidFill>
                            <a:prstClr val="black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2023</a:t>
                      </a:r>
                      <a:endParaRPr lang="zh-CN" altLang="en-US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47669" marR="47669" marT="0" marB="0" anchor="ctr">
                    <a:lnL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 algn="ctr" defTabSz="914400" eaLnBrk="1" hangingPunct="1">
                        <a:lnSpc>
                          <a:spcPts val="1800"/>
                        </a:lnSpc>
                        <a:buNone/>
                        <a:tabLst>
                          <a:tab pos="736600" algn="l"/>
                          <a:tab pos="1492250" algn="l"/>
                          <a:tab pos="1830705" algn="l"/>
                          <a:tab pos="2311400" algn="l"/>
                          <a:tab pos="3030855" algn="l"/>
                          <a:tab pos="3608705" algn="l"/>
                          <a:tab pos="3724275" algn="l"/>
                          <a:tab pos="3883025" algn="l"/>
                          <a:tab pos="5127625" algn="l"/>
                          <a:tab pos="5243830" algn="l"/>
                        </a:tabLst>
                      </a:pPr>
                      <a:endParaRPr lang="zh-CN" altLang="en-US" sz="1600" b="1" dirty="0">
                        <a:latin typeface="Times New Roman" panose="02020603050405020304" pitchFamily="18" charset="0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3555" marR="6355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 algn="ctr" defTabSz="914400" eaLnBrk="1" hangingPunct="1">
                        <a:lnSpc>
                          <a:spcPts val="1800"/>
                        </a:lnSpc>
                        <a:buNone/>
                        <a:tabLst>
                          <a:tab pos="736600" algn="l"/>
                          <a:tab pos="1492250" algn="l"/>
                          <a:tab pos="1830705" algn="l"/>
                          <a:tab pos="2311400" algn="l"/>
                          <a:tab pos="3030855" algn="l"/>
                          <a:tab pos="3608705" algn="l"/>
                          <a:tab pos="3724275" algn="l"/>
                          <a:tab pos="3883025" algn="l"/>
                          <a:tab pos="5127625" algn="l"/>
                          <a:tab pos="5243830" algn="l"/>
                        </a:tabLst>
                      </a:pPr>
                      <a:endParaRPr lang="zh-CN" altLang="en-US" sz="1600" b="1" dirty="0">
                        <a:latin typeface="Times New Roman" panose="02020603050405020304" pitchFamily="18" charset="0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3555" marR="6355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 algn="ctr" defTabSz="914400" eaLnBrk="1" hangingPunct="1">
                        <a:lnSpc>
                          <a:spcPts val="1800"/>
                        </a:lnSpc>
                        <a:buNone/>
                        <a:tabLst>
                          <a:tab pos="736600" algn="l"/>
                          <a:tab pos="1492250" algn="l"/>
                          <a:tab pos="1830705" algn="l"/>
                          <a:tab pos="2311400" algn="l"/>
                          <a:tab pos="3030855" algn="l"/>
                          <a:tab pos="3608705" algn="l"/>
                          <a:tab pos="3724275" algn="l"/>
                          <a:tab pos="3883025" algn="l"/>
                          <a:tab pos="5127625" algn="l"/>
                          <a:tab pos="5243830" algn="l"/>
                        </a:tabLst>
                      </a:pPr>
                      <a:endParaRPr lang="zh-CN" altLang="en-US" sz="1600" b="1" dirty="0">
                        <a:latin typeface="Times New Roman" panose="02020603050405020304" pitchFamily="18" charset="0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3555" marR="6355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 algn="ctr" defTabSz="914400" eaLnBrk="1" hangingPunct="1">
                        <a:lnSpc>
                          <a:spcPts val="1800"/>
                        </a:lnSpc>
                        <a:buNone/>
                        <a:tabLst>
                          <a:tab pos="736600" algn="l"/>
                          <a:tab pos="1492250" algn="l"/>
                          <a:tab pos="1830705" algn="l"/>
                          <a:tab pos="2311400" algn="l"/>
                          <a:tab pos="3030855" algn="l"/>
                          <a:tab pos="3608705" algn="l"/>
                          <a:tab pos="3724275" algn="l"/>
                          <a:tab pos="3883025" algn="l"/>
                          <a:tab pos="5127625" algn="l"/>
                          <a:tab pos="5243830" algn="l"/>
                        </a:tabLst>
                      </a:pPr>
                      <a:endParaRPr lang="zh-CN" altLang="en-US" sz="1600" b="1" dirty="0">
                        <a:latin typeface="Times New Roman" panose="02020603050405020304" pitchFamily="18" charset="0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3555" marR="6355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 algn="ctr" defTabSz="914400" eaLnBrk="1" hangingPunct="1">
                        <a:lnSpc>
                          <a:spcPts val="1800"/>
                        </a:lnSpc>
                        <a:buNone/>
                        <a:tabLst>
                          <a:tab pos="736600" algn="l"/>
                          <a:tab pos="1492250" algn="l"/>
                          <a:tab pos="1830705" algn="l"/>
                          <a:tab pos="2311400" algn="l"/>
                          <a:tab pos="3030855" algn="l"/>
                          <a:tab pos="3608705" algn="l"/>
                          <a:tab pos="3724275" algn="l"/>
                          <a:tab pos="3883025" algn="l"/>
                          <a:tab pos="5127625" algn="l"/>
                          <a:tab pos="5243830" algn="l"/>
                        </a:tabLst>
                      </a:pPr>
                      <a:endParaRPr lang="zh-CN" altLang="en-US" sz="2000" b="1" dirty="0">
                        <a:latin typeface="Times New Roman" panose="02020603050405020304" pitchFamily="18" charset="0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3555" marR="6355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7E5FF"/>
                    </a:solidFill>
                  </a:tcPr>
                </a:tc>
                <a:tc gridSpan="5">
                  <a:txBody>
                    <a:bodyPr/>
                    <a:lstStyle/>
                    <a:p>
                      <a:pPr lvl="0" algn="ctr" defTabSz="914400" eaLnBrk="1" hangingPunct="1">
                        <a:lnSpc>
                          <a:spcPts val="1800"/>
                        </a:lnSpc>
                        <a:buNone/>
                        <a:tabLst>
                          <a:tab pos="736600" algn="l"/>
                          <a:tab pos="1492250" algn="l"/>
                          <a:tab pos="1830705" algn="l"/>
                          <a:tab pos="2311400" algn="l"/>
                          <a:tab pos="3030855" algn="l"/>
                          <a:tab pos="3608705" algn="l"/>
                          <a:tab pos="3724275" algn="l"/>
                          <a:tab pos="3883025" algn="l"/>
                          <a:tab pos="5127625" algn="l"/>
                          <a:tab pos="5243830" algn="l"/>
                        </a:tabLst>
                      </a:pPr>
                      <a:r>
                        <a:rPr lang="en-US" altLang="zh-CN" sz="1200" b="1" kern="1200" dirty="0">
                          <a:solidFill>
                            <a:prstClr val="black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202</a:t>
                      </a:r>
                      <a:r>
                        <a:rPr lang="ru-RU" altLang="zh-CN" sz="1200" b="1" kern="1200" dirty="0">
                          <a:solidFill>
                            <a:prstClr val="black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4</a:t>
                      </a:r>
                      <a:endParaRPr lang="zh-CN" altLang="en-US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47669" marR="476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 algn="ctr" defTabSz="914400" eaLnBrk="1" hangingPunct="1">
                        <a:lnSpc>
                          <a:spcPts val="1800"/>
                        </a:lnSpc>
                        <a:buNone/>
                        <a:tabLst>
                          <a:tab pos="736600" algn="l"/>
                          <a:tab pos="1492250" algn="l"/>
                          <a:tab pos="1830705" algn="l"/>
                          <a:tab pos="2311400" algn="l"/>
                          <a:tab pos="3030855" algn="l"/>
                          <a:tab pos="3608705" algn="l"/>
                          <a:tab pos="3724275" algn="l"/>
                          <a:tab pos="3883025" algn="l"/>
                          <a:tab pos="5127625" algn="l"/>
                          <a:tab pos="5243830" algn="l"/>
                        </a:tabLst>
                      </a:pPr>
                      <a:endParaRPr lang="zh-CN" altLang="en-US" sz="1800" b="1" dirty="0">
                        <a:latin typeface="Times New Roman" panose="02020603050405020304" pitchFamily="18" charset="0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3551" marR="63551" marT="0" marB="0" anchor="ctr">
                    <a:lnL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 algn="ctr" defTabSz="914400" eaLnBrk="1" hangingPunct="1">
                        <a:lnSpc>
                          <a:spcPts val="1800"/>
                        </a:lnSpc>
                        <a:buNone/>
                        <a:tabLst>
                          <a:tab pos="736600" algn="l"/>
                          <a:tab pos="1492250" algn="l"/>
                          <a:tab pos="1830705" algn="l"/>
                          <a:tab pos="2311400" algn="l"/>
                          <a:tab pos="3030855" algn="l"/>
                          <a:tab pos="3608705" algn="l"/>
                          <a:tab pos="3724275" algn="l"/>
                          <a:tab pos="3883025" algn="l"/>
                          <a:tab pos="5127625" algn="l"/>
                          <a:tab pos="5243830" algn="l"/>
                        </a:tabLst>
                      </a:pPr>
                      <a:endParaRPr lang="zh-CN" altLang="en-US" sz="1800" b="1" dirty="0">
                        <a:latin typeface="Times New Roman" panose="02020603050405020304" pitchFamily="18" charset="0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3551" marR="63551" marT="0" marB="0" anchor="ctr">
                    <a:lnL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 algn="ctr" defTabSz="914400" eaLnBrk="1" hangingPunct="1">
                        <a:lnSpc>
                          <a:spcPts val="1800"/>
                        </a:lnSpc>
                        <a:buNone/>
                        <a:tabLst>
                          <a:tab pos="736600" algn="l"/>
                          <a:tab pos="1492250" algn="l"/>
                          <a:tab pos="1830705" algn="l"/>
                          <a:tab pos="2311400" algn="l"/>
                          <a:tab pos="3030855" algn="l"/>
                          <a:tab pos="3608705" algn="l"/>
                          <a:tab pos="3724275" algn="l"/>
                          <a:tab pos="3883025" algn="l"/>
                          <a:tab pos="5127625" algn="l"/>
                          <a:tab pos="5243830" algn="l"/>
                        </a:tabLst>
                      </a:pPr>
                      <a:endParaRPr lang="zh-CN" altLang="en-US" sz="1800" b="1" dirty="0">
                        <a:latin typeface="Times New Roman" panose="02020603050405020304" pitchFamily="18" charset="0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3551" marR="63551" marT="0" marB="0" anchor="ctr">
                    <a:lnL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 algn="ctr" defTabSz="914400" eaLnBrk="1" hangingPunct="1">
                        <a:lnSpc>
                          <a:spcPts val="1800"/>
                        </a:lnSpc>
                        <a:buNone/>
                        <a:tabLst>
                          <a:tab pos="736600" algn="l"/>
                          <a:tab pos="1492250" algn="l"/>
                          <a:tab pos="1830705" algn="l"/>
                          <a:tab pos="2311400" algn="l"/>
                          <a:tab pos="3030855" algn="l"/>
                          <a:tab pos="3608705" algn="l"/>
                          <a:tab pos="3724275" algn="l"/>
                          <a:tab pos="3883025" algn="l"/>
                          <a:tab pos="5127625" algn="l"/>
                          <a:tab pos="5243830" algn="l"/>
                        </a:tabLst>
                      </a:pPr>
                      <a:endParaRPr lang="zh-CN" altLang="en-US" sz="1800" b="1" dirty="0">
                        <a:latin typeface="Times New Roman" panose="02020603050405020304" pitchFamily="18" charset="0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3551" marR="63551" marT="0" marB="0" anchor="ctr">
                    <a:lnL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69488">
                <a:tc>
                  <a:txBody>
                    <a:bodyPr/>
                    <a:lstStyle/>
                    <a:p>
                      <a:pPr lvl="0" algn="ctr" defTabSz="914400" eaLnBrk="1" hangingPunct="1">
                        <a:lnSpc>
                          <a:spcPts val="1800"/>
                        </a:lnSpc>
                        <a:buNone/>
                        <a:tabLst>
                          <a:tab pos="736600" algn="l"/>
                          <a:tab pos="1492250" algn="l"/>
                          <a:tab pos="1830705" algn="l"/>
                          <a:tab pos="2311400" algn="l"/>
                          <a:tab pos="3030855" algn="l"/>
                          <a:tab pos="3608705" algn="l"/>
                          <a:tab pos="3724275" algn="l"/>
                          <a:tab pos="3883025" algn="l"/>
                          <a:tab pos="5127625" algn="l"/>
                          <a:tab pos="5243830" algn="l"/>
                        </a:tabLst>
                      </a:pPr>
                      <a:r>
                        <a:rPr lang="ru-RU" altLang="zh-CN" sz="12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Бренд</a:t>
                      </a:r>
                      <a:endParaRPr lang="zh-CN" altLang="en-US" sz="1200" b="1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47669" marR="47669" marT="0" marB="0" anchor="ctr">
                    <a:lnL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defTabSz="914400" eaLnBrk="1" hangingPunct="1">
                        <a:lnSpc>
                          <a:spcPts val="1800"/>
                        </a:lnSpc>
                        <a:buNone/>
                        <a:tabLst>
                          <a:tab pos="736600" algn="l"/>
                          <a:tab pos="1492250" algn="l"/>
                          <a:tab pos="1830705" algn="l"/>
                          <a:tab pos="2311400" algn="l"/>
                          <a:tab pos="3030855" algn="l"/>
                          <a:tab pos="3608705" algn="l"/>
                          <a:tab pos="3724275" algn="l"/>
                          <a:tab pos="3883025" algn="l"/>
                          <a:tab pos="5127625" algn="l"/>
                          <a:tab pos="5243830" algn="l"/>
                        </a:tabLst>
                      </a:pPr>
                      <a:r>
                        <a:rPr lang="ru-RU" altLang="zh-CN" sz="1200" b="1" kern="1200" dirty="0">
                          <a:solidFill>
                            <a:prstClr val="black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Кол-во ДЦ в городе</a:t>
                      </a:r>
                      <a:endParaRPr lang="zh-CN" altLang="en-US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47669" marR="476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defTabSz="914400" eaLnBrk="1" hangingPunct="1">
                        <a:lnSpc>
                          <a:spcPts val="1800"/>
                        </a:lnSpc>
                        <a:buNone/>
                        <a:tabLst>
                          <a:tab pos="736600" algn="l"/>
                          <a:tab pos="1492250" algn="l"/>
                          <a:tab pos="1830705" algn="l"/>
                          <a:tab pos="2311400" algn="l"/>
                          <a:tab pos="3030855" algn="l"/>
                          <a:tab pos="3608705" algn="l"/>
                          <a:tab pos="3724275" algn="l"/>
                          <a:tab pos="3883025" algn="l"/>
                          <a:tab pos="5127625" algn="l"/>
                          <a:tab pos="5243830" algn="l"/>
                        </a:tabLst>
                      </a:pPr>
                      <a:r>
                        <a:rPr lang="ru-RU" altLang="zh-CN" sz="1200" b="1" kern="1200" dirty="0">
                          <a:solidFill>
                            <a:prstClr val="black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Общие продажи в городе</a:t>
                      </a:r>
                      <a:endParaRPr lang="zh-CN" altLang="en-US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47669" marR="476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defTabSz="914400" eaLnBrk="1" hangingPunct="1">
                        <a:lnSpc>
                          <a:spcPts val="1800"/>
                        </a:lnSpc>
                        <a:buNone/>
                        <a:tabLst>
                          <a:tab pos="736600" algn="l"/>
                          <a:tab pos="1492250" algn="l"/>
                          <a:tab pos="1830705" algn="l"/>
                          <a:tab pos="2311400" algn="l"/>
                          <a:tab pos="3030855" algn="l"/>
                          <a:tab pos="3608705" algn="l"/>
                          <a:tab pos="3724275" algn="l"/>
                          <a:tab pos="3883025" algn="l"/>
                          <a:tab pos="5127625" algn="l"/>
                          <a:tab pos="5243830" algn="l"/>
                        </a:tabLst>
                      </a:pPr>
                      <a:r>
                        <a:rPr lang="ru-RU" altLang="zh-CN" sz="1200" b="1" kern="1200" dirty="0">
                          <a:solidFill>
                            <a:prstClr val="black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Доля рынка в городе</a:t>
                      </a:r>
                      <a:endParaRPr lang="zh-CN" altLang="en-US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47669" marR="476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defTabSz="914400" eaLnBrk="1" hangingPunct="1">
                        <a:lnSpc>
                          <a:spcPts val="1800"/>
                        </a:lnSpc>
                        <a:buNone/>
                        <a:tabLst>
                          <a:tab pos="736600" algn="l"/>
                          <a:tab pos="1492250" algn="l"/>
                          <a:tab pos="1830705" algn="l"/>
                          <a:tab pos="2311400" algn="l"/>
                          <a:tab pos="3030855" algn="l"/>
                          <a:tab pos="3608705" algn="l"/>
                          <a:tab pos="3724275" algn="l"/>
                          <a:tab pos="3883025" algn="l"/>
                          <a:tab pos="5127625" algn="l"/>
                          <a:tab pos="5243830" algn="l"/>
                        </a:tabLst>
                      </a:pPr>
                      <a:r>
                        <a:rPr lang="ru-RU" altLang="zh-CN" sz="1200" b="1" kern="1200" dirty="0">
                          <a:solidFill>
                            <a:prstClr val="black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Доля рынка РФ</a:t>
                      </a:r>
                      <a:endParaRPr lang="zh-CN" altLang="en-US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47669" marR="476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736600" algn="l"/>
                          <a:tab pos="1492250" algn="l"/>
                          <a:tab pos="1830705" algn="l"/>
                          <a:tab pos="2311400" algn="l"/>
                          <a:tab pos="3030855" algn="l"/>
                          <a:tab pos="3608705" algn="l"/>
                          <a:tab pos="3724275" algn="l"/>
                          <a:tab pos="3883025" algn="l"/>
                          <a:tab pos="5127625" algn="l"/>
                          <a:tab pos="5243830" algn="l"/>
                        </a:tabLst>
                        <a:defRPr/>
                      </a:pPr>
                      <a:r>
                        <a:rPr lang="ru-RU" altLang="zh-CN" sz="1200" b="1" kern="1200" dirty="0">
                          <a:solidFill>
                            <a:prstClr val="black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Продажи дилера</a:t>
                      </a:r>
                      <a:r>
                        <a:rPr lang="en-US" altLang="zh-CN" sz="1200" b="1" kern="1200" dirty="0">
                          <a:solidFill>
                            <a:prstClr val="black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/ </a:t>
                      </a:r>
                      <a:r>
                        <a:rPr lang="ru-RU" altLang="zh-CN" sz="1200" b="1" kern="1200" dirty="0">
                          <a:solidFill>
                            <a:prstClr val="black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Доля дилера</a:t>
                      </a:r>
                      <a:endParaRPr lang="zh-CN" altLang="en-US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  <a:p>
                      <a:pPr lvl="0" algn="ctr" defTabSz="914400" eaLnBrk="1" hangingPunct="1">
                        <a:lnSpc>
                          <a:spcPts val="1800"/>
                        </a:lnSpc>
                        <a:buNone/>
                        <a:tabLst>
                          <a:tab pos="736600" algn="l"/>
                          <a:tab pos="1492250" algn="l"/>
                          <a:tab pos="1830705" algn="l"/>
                          <a:tab pos="2311400" algn="l"/>
                          <a:tab pos="3030855" algn="l"/>
                          <a:tab pos="3608705" algn="l"/>
                          <a:tab pos="3724275" algn="l"/>
                          <a:tab pos="3883025" algn="l"/>
                          <a:tab pos="5127625" algn="l"/>
                          <a:tab pos="5243830" algn="l"/>
                        </a:tabLst>
                      </a:pPr>
                      <a:endParaRPr lang="zh-CN" altLang="en-US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47669" marR="476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defTabSz="914400" eaLnBrk="1" hangingPunct="1">
                        <a:lnSpc>
                          <a:spcPts val="1800"/>
                        </a:lnSpc>
                        <a:buNone/>
                        <a:tabLst>
                          <a:tab pos="736600" algn="l"/>
                          <a:tab pos="1492250" algn="l"/>
                          <a:tab pos="1830705" algn="l"/>
                          <a:tab pos="2311400" algn="l"/>
                          <a:tab pos="3030855" algn="l"/>
                          <a:tab pos="3608705" algn="l"/>
                          <a:tab pos="3724275" algn="l"/>
                          <a:tab pos="3883025" algn="l"/>
                          <a:tab pos="5127625" algn="l"/>
                          <a:tab pos="5243830" algn="l"/>
                        </a:tabLst>
                      </a:pPr>
                      <a:r>
                        <a:rPr lang="ru-RU" altLang="zh-CN" sz="1200" b="1" kern="1200" dirty="0">
                          <a:solidFill>
                            <a:prstClr val="black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Кол-во ДЦ в городе</a:t>
                      </a:r>
                      <a:endParaRPr lang="zh-CN" altLang="en-US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47669" marR="476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defTabSz="914400" eaLnBrk="1" hangingPunct="1">
                        <a:lnSpc>
                          <a:spcPts val="1800"/>
                        </a:lnSpc>
                        <a:buNone/>
                        <a:tabLst>
                          <a:tab pos="736600" algn="l"/>
                          <a:tab pos="1492250" algn="l"/>
                          <a:tab pos="1830705" algn="l"/>
                          <a:tab pos="2311400" algn="l"/>
                          <a:tab pos="3030855" algn="l"/>
                          <a:tab pos="3608705" algn="l"/>
                          <a:tab pos="3724275" algn="l"/>
                          <a:tab pos="3883025" algn="l"/>
                          <a:tab pos="5127625" algn="l"/>
                          <a:tab pos="5243830" algn="l"/>
                        </a:tabLst>
                      </a:pPr>
                      <a:r>
                        <a:rPr lang="ru-RU" altLang="zh-CN" sz="1200" b="1" kern="1200" dirty="0">
                          <a:solidFill>
                            <a:prstClr val="black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Общие продажи в городе</a:t>
                      </a:r>
                      <a:endParaRPr lang="zh-CN" altLang="en-US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47669" marR="476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defTabSz="914400" eaLnBrk="1" hangingPunct="1">
                        <a:lnSpc>
                          <a:spcPts val="1800"/>
                        </a:lnSpc>
                        <a:buNone/>
                        <a:tabLst>
                          <a:tab pos="736600" algn="l"/>
                          <a:tab pos="1492250" algn="l"/>
                          <a:tab pos="1830705" algn="l"/>
                          <a:tab pos="2311400" algn="l"/>
                          <a:tab pos="3030855" algn="l"/>
                          <a:tab pos="3608705" algn="l"/>
                          <a:tab pos="3724275" algn="l"/>
                          <a:tab pos="3883025" algn="l"/>
                          <a:tab pos="5127625" algn="l"/>
                          <a:tab pos="5243830" algn="l"/>
                        </a:tabLst>
                      </a:pPr>
                      <a:r>
                        <a:rPr lang="ru-RU" altLang="zh-CN" sz="1200" b="1" kern="1200" dirty="0">
                          <a:solidFill>
                            <a:prstClr val="black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Доля рынка в городе</a:t>
                      </a:r>
                      <a:endParaRPr lang="zh-CN" altLang="en-US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47669" marR="476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defTabSz="914400" eaLnBrk="1" hangingPunct="1">
                        <a:lnSpc>
                          <a:spcPts val="1800"/>
                        </a:lnSpc>
                        <a:buNone/>
                        <a:tabLst>
                          <a:tab pos="736600" algn="l"/>
                          <a:tab pos="1492250" algn="l"/>
                          <a:tab pos="1830705" algn="l"/>
                          <a:tab pos="2311400" algn="l"/>
                          <a:tab pos="3030855" algn="l"/>
                          <a:tab pos="3608705" algn="l"/>
                          <a:tab pos="3724275" algn="l"/>
                          <a:tab pos="3883025" algn="l"/>
                          <a:tab pos="5127625" algn="l"/>
                          <a:tab pos="5243830" algn="l"/>
                        </a:tabLst>
                      </a:pPr>
                      <a:r>
                        <a:rPr lang="ru-RU" altLang="zh-CN" sz="1200" b="1" kern="1200" dirty="0">
                          <a:solidFill>
                            <a:prstClr val="black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Доля рынка РФ</a:t>
                      </a:r>
                      <a:endParaRPr lang="zh-CN" altLang="en-US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47669" marR="476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736600" algn="l"/>
                          <a:tab pos="1492250" algn="l"/>
                          <a:tab pos="1830705" algn="l"/>
                          <a:tab pos="2311400" algn="l"/>
                          <a:tab pos="3030855" algn="l"/>
                          <a:tab pos="3608705" algn="l"/>
                          <a:tab pos="3724275" algn="l"/>
                          <a:tab pos="3883025" algn="l"/>
                          <a:tab pos="5127625" algn="l"/>
                          <a:tab pos="5243830" algn="l"/>
                        </a:tabLst>
                        <a:defRPr/>
                      </a:pPr>
                      <a:r>
                        <a:rPr lang="ru-RU" altLang="zh-CN" sz="1200" b="1" kern="1200" dirty="0">
                          <a:solidFill>
                            <a:prstClr val="black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Продажи дилера</a:t>
                      </a:r>
                      <a:r>
                        <a:rPr lang="en-US" altLang="zh-CN" sz="1200" b="1" kern="1200" dirty="0">
                          <a:solidFill>
                            <a:prstClr val="black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/ </a:t>
                      </a:r>
                      <a:r>
                        <a:rPr lang="ru-RU" altLang="zh-CN" sz="1200" b="1" kern="1200" dirty="0">
                          <a:solidFill>
                            <a:prstClr val="black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Доля дилера</a:t>
                      </a:r>
                      <a:endParaRPr lang="zh-CN" altLang="en-US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47669" marR="4766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98107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736600" algn="l"/>
                          <a:tab pos="1492250" algn="l"/>
                          <a:tab pos="1830705" algn="l"/>
                          <a:tab pos="2311400" algn="l"/>
                          <a:tab pos="3030855" algn="l"/>
                          <a:tab pos="3608705" algn="l"/>
                          <a:tab pos="3724275" algn="l"/>
                          <a:tab pos="3883025" algn="l"/>
                          <a:tab pos="5127625" algn="l"/>
                          <a:tab pos="5243830" algn="l"/>
                        </a:tabLst>
                        <a:defRPr/>
                      </a:pPr>
                      <a:endParaRPr lang="zh-CN" altLang="en-US" sz="1200" b="1" kern="12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47669" marR="47669" marT="0" marB="0" anchor="ctr">
                    <a:lnL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7145" marR="7145" marT="714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1" kern="120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7145" marR="7145" marT="714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7145" marR="7145" marT="714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1" kern="120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1" kern="120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7145" marR="7145" marT="714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98107"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SimSun" panose="02010600030101010101" pitchFamily="2" charset="-122"/>
                        </a:defRPr>
                      </a:lvl1pPr>
                      <a:lvl2pPr marL="45720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SimSun" panose="02010600030101010101" pitchFamily="2" charset="-122"/>
                          <a:cs typeface="+mn-cs"/>
                        </a:defRPr>
                      </a:lvl2pPr>
                      <a:lvl3pPr marL="914400" lvl="2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SimSun" panose="02010600030101010101" pitchFamily="2" charset="-122"/>
                          <a:cs typeface="+mn-cs"/>
                        </a:defRPr>
                      </a:lvl3pPr>
                      <a:lvl4pPr marL="1371600" lvl="3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SimSun" panose="02010600030101010101" pitchFamily="2" charset="-122"/>
                          <a:cs typeface="+mn-cs"/>
                        </a:defRPr>
                      </a:lvl4pPr>
                      <a:lvl5pPr marL="1828800" lvl="4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SimSun" panose="02010600030101010101" pitchFamily="2" charset="-122"/>
                          <a:cs typeface="+mn-cs"/>
                        </a:defRPr>
                      </a:lvl5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ts val="1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736600" algn="l"/>
                          <a:tab pos="1492250" algn="l"/>
                          <a:tab pos="1830705" algn="l"/>
                          <a:tab pos="2311400" algn="l"/>
                          <a:tab pos="3030855" algn="l"/>
                          <a:tab pos="3608705" algn="l"/>
                          <a:tab pos="3724275" algn="l"/>
                          <a:tab pos="3883025" algn="l"/>
                          <a:tab pos="5127625" algn="l"/>
                          <a:tab pos="5243830" algn="l"/>
                        </a:tabLst>
                        <a:defRPr/>
                      </a:pPr>
                      <a:endParaRPr lang="ru-RU" sz="1200" b="1" kern="12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47669" marR="47669" marT="0" marB="0" anchor="ctr">
                    <a:lnL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7145" marR="7145" marT="714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7145" marR="7145" marT="714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7145" marR="7145" marT="714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1" kern="120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7145" marR="7145" marT="714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77148"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SimSun" panose="02010600030101010101" pitchFamily="2" charset="-122"/>
                        </a:defRPr>
                      </a:lvl1pPr>
                      <a:lvl2pPr marL="45720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SimSun" panose="02010600030101010101" pitchFamily="2" charset="-122"/>
                          <a:cs typeface="+mn-cs"/>
                        </a:defRPr>
                      </a:lvl2pPr>
                      <a:lvl3pPr marL="914400" lvl="2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SimSun" panose="02010600030101010101" pitchFamily="2" charset="-122"/>
                          <a:cs typeface="+mn-cs"/>
                        </a:defRPr>
                      </a:lvl3pPr>
                      <a:lvl4pPr marL="1371600" lvl="3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SimSun" panose="02010600030101010101" pitchFamily="2" charset="-122"/>
                          <a:cs typeface="+mn-cs"/>
                        </a:defRPr>
                      </a:lvl4pPr>
                      <a:lvl5pPr marL="1828800" lvl="4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SimSun" panose="02010600030101010101" pitchFamily="2" charset="-122"/>
                          <a:cs typeface="+mn-cs"/>
                        </a:defRPr>
                      </a:lvl5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ts val="1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736600" algn="l"/>
                          <a:tab pos="1492250" algn="l"/>
                          <a:tab pos="1830705" algn="l"/>
                          <a:tab pos="2311400" algn="l"/>
                          <a:tab pos="3030855" algn="l"/>
                          <a:tab pos="3608705" algn="l"/>
                          <a:tab pos="3724275" algn="l"/>
                          <a:tab pos="3883025" algn="l"/>
                          <a:tab pos="5127625" algn="l"/>
                          <a:tab pos="5243830" algn="l"/>
                        </a:tabLst>
                        <a:defRPr/>
                      </a:pPr>
                      <a:endParaRPr lang="ru-RU" sz="1200" b="1" kern="12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47669" marR="47669" marT="0" marB="0" anchor="ctr">
                    <a:lnL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7145" marR="7145" marT="714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1" kern="120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7145" marR="7145" marT="714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7145" marR="7145" marT="714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7145" marR="7145" marT="714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98107">
                <a:tc>
                  <a:txBody>
                    <a:bodyPr/>
                    <a:lstStyle>
                      <a:lvl1pPr marL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sz="1800"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SimSun" panose="02010600030101010101" pitchFamily="2" charset="-122"/>
                        </a:defRPr>
                      </a:lvl1pPr>
                      <a:lvl2pPr marL="45720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SimSun" panose="02010600030101010101" pitchFamily="2" charset="-122"/>
                          <a:cs typeface="+mn-cs"/>
                        </a:defRPr>
                      </a:lvl2pPr>
                      <a:lvl3pPr marL="914400" lvl="2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SimSun" panose="02010600030101010101" pitchFamily="2" charset="-122"/>
                          <a:cs typeface="+mn-cs"/>
                        </a:defRPr>
                      </a:lvl3pPr>
                      <a:lvl4pPr marL="1371600" lvl="3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SimSun" panose="02010600030101010101" pitchFamily="2" charset="-122"/>
                          <a:cs typeface="+mn-cs"/>
                        </a:defRPr>
                      </a:lvl4pPr>
                      <a:lvl5pPr marL="1828800" lvl="4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defRPr b="0" i="0" u="non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SimSun" panose="02010600030101010101" pitchFamily="2" charset="-122"/>
                          <a:cs typeface="+mn-cs"/>
                        </a:defRPr>
                      </a:lvl5pPr>
                    </a:lstStyle>
                    <a:p>
                      <a:pPr marL="0" lvl="0" algn="ctr" defTabSz="914400" rtl="0" eaLnBrk="1" fontAlgn="b" latinLnBrk="0" hangingPunct="1">
                        <a:lnSpc>
                          <a:spcPts val="1800"/>
                        </a:lnSpc>
                        <a:buNone/>
                        <a:tabLst>
                          <a:tab pos="736600" algn="l"/>
                          <a:tab pos="1492250" algn="l"/>
                          <a:tab pos="1830705" algn="l"/>
                          <a:tab pos="2311400" algn="l"/>
                          <a:tab pos="3030855" algn="l"/>
                          <a:tab pos="3608705" algn="l"/>
                          <a:tab pos="3724275" algn="l"/>
                          <a:tab pos="3883025" algn="l"/>
                          <a:tab pos="5127625" algn="l"/>
                          <a:tab pos="5243830" algn="l"/>
                        </a:tabLst>
                      </a:pPr>
                      <a:endParaRPr lang="zh-CN" altLang="en-US" sz="1200" b="1" kern="12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47669" marR="47669" marT="0" marB="0" anchor="ctr">
                    <a:lnL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7145" marR="7145" marT="714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7145" marR="7145" marT="714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7145" marR="7145" marT="714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1" kern="1200" dirty="0">
                        <a:solidFill>
                          <a:prstClr val="black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7145" marR="7145" marT="714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075387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949195-297B-B2E0-A773-C1E1C2BB5C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AD98E6F-B8F6-A6D8-F43A-63D41D4C24E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31373" y="160231"/>
            <a:ext cx="11137237" cy="57148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ДАННЫЕ ПО СУЩЕСТВУЮЩЕМУ БИЗНЕСУ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52613C5F-5D20-3531-1C20-9E44819D2DA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28454961"/>
              </p:ext>
            </p:extLst>
          </p:nvPr>
        </p:nvGraphicFramePr>
        <p:xfrm>
          <a:off x="2114768" y="1354138"/>
          <a:ext cx="8280400" cy="4678719"/>
        </p:xfrm>
        <a:graphic>
          <a:graphicData uri="http://schemas.openxmlformats.org/drawingml/2006/table">
            <a:tbl>
              <a:tblPr/>
              <a:tblGrid>
                <a:gridCol w="46063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7402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02857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tabLst>
                          <a:tab pos="736600" algn="l"/>
                          <a:tab pos="1492250" algn="l"/>
                          <a:tab pos="1830388" algn="l"/>
                          <a:tab pos="2311400" algn="l"/>
                          <a:tab pos="3030538" algn="l"/>
                          <a:tab pos="3608388" algn="l"/>
                          <a:tab pos="3724275" algn="l"/>
                          <a:tab pos="3883025" algn="l"/>
                          <a:tab pos="5127625" algn="l"/>
                          <a:tab pos="5243513" algn="l"/>
                        </a:tabLst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SimSun" panose="02010600030101010101" pitchFamily="2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tabLst>
                          <a:tab pos="736600" algn="l"/>
                          <a:tab pos="1492250" algn="l"/>
                          <a:tab pos="1830388" algn="l"/>
                          <a:tab pos="2311400" algn="l"/>
                          <a:tab pos="3030538" algn="l"/>
                          <a:tab pos="3608388" algn="l"/>
                          <a:tab pos="3724275" algn="l"/>
                          <a:tab pos="3883025" algn="l"/>
                          <a:tab pos="5127625" algn="l"/>
                          <a:tab pos="5243513" algn="l"/>
                        </a:tabLst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SimSun" panose="02010600030101010101" pitchFamily="2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tabLst>
                          <a:tab pos="736600" algn="l"/>
                          <a:tab pos="1492250" algn="l"/>
                          <a:tab pos="1830388" algn="l"/>
                          <a:tab pos="2311400" algn="l"/>
                          <a:tab pos="3030538" algn="l"/>
                          <a:tab pos="3608388" algn="l"/>
                          <a:tab pos="3724275" algn="l"/>
                          <a:tab pos="3883025" algn="l"/>
                          <a:tab pos="5127625" algn="l"/>
                          <a:tab pos="5243513" algn="l"/>
                        </a:tabLst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SimSun" panose="02010600030101010101" pitchFamily="2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tabLst>
                          <a:tab pos="736600" algn="l"/>
                          <a:tab pos="1492250" algn="l"/>
                          <a:tab pos="1830388" algn="l"/>
                          <a:tab pos="2311400" algn="l"/>
                          <a:tab pos="3030538" algn="l"/>
                          <a:tab pos="3608388" algn="l"/>
                          <a:tab pos="3724275" algn="l"/>
                          <a:tab pos="3883025" algn="l"/>
                          <a:tab pos="5127625" algn="l"/>
                          <a:tab pos="5243513" algn="l"/>
                        </a:tabLst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SimSun" panose="02010600030101010101" pitchFamily="2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tabLst>
                          <a:tab pos="736600" algn="l"/>
                          <a:tab pos="1492250" algn="l"/>
                          <a:tab pos="1830388" algn="l"/>
                          <a:tab pos="2311400" algn="l"/>
                          <a:tab pos="3030538" algn="l"/>
                          <a:tab pos="3608388" algn="l"/>
                          <a:tab pos="3724275" algn="l"/>
                          <a:tab pos="3883025" algn="l"/>
                          <a:tab pos="5127625" algn="l"/>
                          <a:tab pos="5243513" algn="l"/>
                        </a:tabLst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SimSun" panose="02010600030101010101" pitchFamily="2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736600" algn="l"/>
                          <a:tab pos="1492250" algn="l"/>
                          <a:tab pos="1830388" algn="l"/>
                          <a:tab pos="2311400" algn="l"/>
                          <a:tab pos="3030538" algn="l"/>
                          <a:tab pos="3608388" algn="l"/>
                          <a:tab pos="3724275" algn="l"/>
                          <a:tab pos="3883025" algn="l"/>
                          <a:tab pos="5127625" algn="l"/>
                          <a:tab pos="5243513" algn="l"/>
                        </a:tabLst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SimSun" panose="02010600030101010101" pitchFamily="2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736600" algn="l"/>
                          <a:tab pos="1492250" algn="l"/>
                          <a:tab pos="1830388" algn="l"/>
                          <a:tab pos="2311400" algn="l"/>
                          <a:tab pos="3030538" algn="l"/>
                          <a:tab pos="3608388" algn="l"/>
                          <a:tab pos="3724275" algn="l"/>
                          <a:tab pos="3883025" algn="l"/>
                          <a:tab pos="5127625" algn="l"/>
                          <a:tab pos="5243513" algn="l"/>
                        </a:tabLst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SimSun" panose="02010600030101010101" pitchFamily="2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736600" algn="l"/>
                          <a:tab pos="1492250" algn="l"/>
                          <a:tab pos="1830388" algn="l"/>
                          <a:tab pos="2311400" algn="l"/>
                          <a:tab pos="3030538" algn="l"/>
                          <a:tab pos="3608388" algn="l"/>
                          <a:tab pos="3724275" algn="l"/>
                          <a:tab pos="3883025" algn="l"/>
                          <a:tab pos="5127625" algn="l"/>
                          <a:tab pos="5243513" algn="l"/>
                        </a:tabLst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SimSun" panose="02010600030101010101" pitchFamily="2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736600" algn="l"/>
                          <a:tab pos="1492250" algn="l"/>
                          <a:tab pos="1830388" algn="l"/>
                          <a:tab pos="2311400" algn="l"/>
                          <a:tab pos="3030538" algn="l"/>
                          <a:tab pos="3608388" algn="l"/>
                          <a:tab pos="3724275" algn="l"/>
                          <a:tab pos="3883025" algn="l"/>
                          <a:tab pos="5127625" algn="l"/>
                          <a:tab pos="5243513" algn="l"/>
                        </a:tabLst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SimSun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ts val="1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736600" algn="l"/>
                          <a:tab pos="1492250" algn="l"/>
                          <a:tab pos="1830388" algn="l"/>
                          <a:tab pos="2311400" algn="l"/>
                          <a:tab pos="3030538" algn="l"/>
                          <a:tab pos="3608388" algn="l"/>
                          <a:tab pos="3724275" algn="l"/>
                          <a:tab pos="3883025" algn="l"/>
                          <a:tab pos="5127625" algn="l"/>
                          <a:tab pos="5243513" algn="l"/>
                        </a:tabLst>
                        <a:defRPr/>
                      </a:pPr>
                      <a:r>
                        <a:rPr kumimoji="0" lang="ru-RU" altLang="zh-CN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Оборот компании в 20</a:t>
                      </a:r>
                      <a:r>
                        <a:rPr kumimoji="0" lang="en-US" altLang="zh-CN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kumimoji="0" lang="ru-RU" altLang="zh-CN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r>
                        <a:rPr kumimoji="0" lang="en-US" altLang="zh-CN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/2024</a:t>
                      </a:r>
                      <a:endParaRPr kumimoji="0" lang="zh-CN" alt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47667" marR="47667" marT="0" marB="0" anchor="ctr" horzOverflow="overflow">
                    <a:lnL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80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667" marR="4766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72661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tabLst>
                          <a:tab pos="736600" algn="l"/>
                          <a:tab pos="1492250" algn="l"/>
                          <a:tab pos="1830388" algn="l"/>
                          <a:tab pos="2311400" algn="l"/>
                          <a:tab pos="3030538" algn="l"/>
                          <a:tab pos="3608388" algn="l"/>
                          <a:tab pos="3724275" algn="l"/>
                          <a:tab pos="3883025" algn="l"/>
                          <a:tab pos="5127625" algn="l"/>
                          <a:tab pos="5243513" algn="l"/>
                        </a:tabLst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SimSun" panose="02010600030101010101" pitchFamily="2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tabLst>
                          <a:tab pos="736600" algn="l"/>
                          <a:tab pos="1492250" algn="l"/>
                          <a:tab pos="1830388" algn="l"/>
                          <a:tab pos="2311400" algn="l"/>
                          <a:tab pos="3030538" algn="l"/>
                          <a:tab pos="3608388" algn="l"/>
                          <a:tab pos="3724275" algn="l"/>
                          <a:tab pos="3883025" algn="l"/>
                          <a:tab pos="5127625" algn="l"/>
                          <a:tab pos="5243513" algn="l"/>
                        </a:tabLst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SimSun" panose="02010600030101010101" pitchFamily="2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tabLst>
                          <a:tab pos="736600" algn="l"/>
                          <a:tab pos="1492250" algn="l"/>
                          <a:tab pos="1830388" algn="l"/>
                          <a:tab pos="2311400" algn="l"/>
                          <a:tab pos="3030538" algn="l"/>
                          <a:tab pos="3608388" algn="l"/>
                          <a:tab pos="3724275" algn="l"/>
                          <a:tab pos="3883025" algn="l"/>
                          <a:tab pos="5127625" algn="l"/>
                          <a:tab pos="5243513" algn="l"/>
                        </a:tabLst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SimSun" panose="02010600030101010101" pitchFamily="2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tabLst>
                          <a:tab pos="736600" algn="l"/>
                          <a:tab pos="1492250" algn="l"/>
                          <a:tab pos="1830388" algn="l"/>
                          <a:tab pos="2311400" algn="l"/>
                          <a:tab pos="3030538" algn="l"/>
                          <a:tab pos="3608388" algn="l"/>
                          <a:tab pos="3724275" algn="l"/>
                          <a:tab pos="3883025" algn="l"/>
                          <a:tab pos="5127625" algn="l"/>
                          <a:tab pos="5243513" algn="l"/>
                        </a:tabLst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SimSun" panose="02010600030101010101" pitchFamily="2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tabLst>
                          <a:tab pos="736600" algn="l"/>
                          <a:tab pos="1492250" algn="l"/>
                          <a:tab pos="1830388" algn="l"/>
                          <a:tab pos="2311400" algn="l"/>
                          <a:tab pos="3030538" algn="l"/>
                          <a:tab pos="3608388" algn="l"/>
                          <a:tab pos="3724275" algn="l"/>
                          <a:tab pos="3883025" algn="l"/>
                          <a:tab pos="5127625" algn="l"/>
                          <a:tab pos="5243513" algn="l"/>
                        </a:tabLst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SimSun" panose="02010600030101010101" pitchFamily="2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736600" algn="l"/>
                          <a:tab pos="1492250" algn="l"/>
                          <a:tab pos="1830388" algn="l"/>
                          <a:tab pos="2311400" algn="l"/>
                          <a:tab pos="3030538" algn="l"/>
                          <a:tab pos="3608388" algn="l"/>
                          <a:tab pos="3724275" algn="l"/>
                          <a:tab pos="3883025" algn="l"/>
                          <a:tab pos="5127625" algn="l"/>
                          <a:tab pos="5243513" algn="l"/>
                        </a:tabLst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SimSun" panose="02010600030101010101" pitchFamily="2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736600" algn="l"/>
                          <a:tab pos="1492250" algn="l"/>
                          <a:tab pos="1830388" algn="l"/>
                          <a:tab pos="2311400" algn="l"/>
                          <a:tab pos="3030538" algn="l"/>
                          <a:tab pos="3608388" algn="l"/>
                          <a:tab pos="3724275" algn="l"/>
                          <a:tab pos="3883025" algn="l"/>
                          <a:tab pos="5127625" algn="l"/>
                          <a:tab pos="5243513" algn="l"/>
                        </a:tabLst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SimSun" panose="02010600030101010101" pitchFamily="2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736600" algn="l"/>
                          <a:tab pos="1492250" algn="l"/>
                          <a:tab pos="1830388" algn="l"/>
                          <a:tab pos="2311400" algn="l"/>
                          <a:tab pos="3030538" algn="l"/>
                          <a:tab pos="3608388" algn="l"/>
                          <a:tab pos="3724275" algn="l"/>
                          <a:tab pos="3883025" algn="l"/>
                          <a:tab pos="5127625" algn="l"/>
                          <a:tab pos="5243513" algn="l"/>
                        </a:tabLst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SimSun" panose="02010600030101010101" pitchFamily="2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736600" algn="l"/>
                          <a:tab pos="1492250" algn="l"/>
                          <a:tab pos="1830388" algn="l"/>
                          <a:tab pos="2311400" algn="l"/>
                          <a:tab pos="3030538" algn="l"/>
                          <a:tab pos="3608388" algn="l"/>
                          <a:tab pos="3724275" algn="l"/>
                          <a:tab pos="3883025" algn="l"/>
                          <a:tab pos="5127625" algn="l"/>
                          <a:tab pos="5243513" algn="l"/>
                        </a:tabLst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SimSun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ts val="1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736600" algn="l"/>
                          <a:tab pos="1492250" algn="l"/>
                          <a:tab pos="1830388" algn="l"/>
                          <a:tab pos="2311400" algn="l"/>
                          <a:tab pos="3030538" algn="l"/>
                          <a:tab pos="3608388" algn="l"/>
                          <a:tab pos="3724275" algn="l"/>
                          <a:tab pos="3883025" algn="l"/>
                          <a:tab pos="5127625" algn="l"/>
                          <a:tab pos="5243513" algn="l"/>
                        </a:tabLst>
                        <a:defRPr/>
                      </a:pPr>
                      <a:r>
                        <a:rPr kumimoji="0" lang="ru-RU" altLang="zh-CN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Чистая прибыль в 20</a:t>
                      </a:r>
                      <a:r>
                        <a:rPr kumimoji="0" lang="en-US" altLang="zh-CN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3/2024</a:t>
                      </a:r>
                      <a:endParaRPr kumimoji="0" lang="zh-CN" alt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47667" marR="47667" marT="0" marB="0" anchor="ctr" horzOverflow="overflow">
                    <a:lnL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80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667" marR="4766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3420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tabLst>
                          <a:tab pos="736600" algn="l"/>
                          <a:tab pos="1492250" algn="l"/>
                          <a:tab pos="1830388" algn="l"/>
                          <a:tab pos="2311400" algn="l"/>
                          <a:tab pos="3030538" algn="l"/>
                          <a:tab pos="3608388" algn="l"/>
                          <a:tab pos="3724275" algn="l"/>
                          <a:tab pos="3883025" algn="l"/>
                          <a:tab pos="5127625" algn="l"/>
                          <a:tab pos="5243513" algn="l"/>
                        </a:tabLst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SimSun" panose="02010600030101010101" pitchFamily="2" charset="-122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tabLst>
                          <a:tab pos="736600" algn="l"/>
                          <a:tab pos="1492250" algn="l"/>
                          <a:tab pos="1830388" algn="l"/>
                          <a:tab pos="2311400" algn="l"/>
                          <a:tab pos="3030538" algn="l"/>
                          <a:tab pos="3608388" algn="l"/>
                          <a:tab pos="3724275" algn="l"/>
                          <a:tab pos="3883025" algn="l"/>
                          <a:tab pos="5127625" algn="l"/>
                          <a:tab pos="5243513" algn="l"/>
                        </a:tabLst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SimSun" panose="02010600030101010101" pitchFamily="2" charset="-122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tabLst>
                          <a:tab pos="736600" algn="l"/>
                          <a:tab pos="1492250" algn="l"/>
                          <a:tab pos="1830388" algn="l"/>
                          <a:tab pos="2311400" algn="l"/>
                          <a:tab pos="3030538" algn="l"/>
                          <a:tab pos="3608388" algn="l"/>
                          <a:tab pos="3724275" algn="l"/>
                          <a:tab pos="3883025" algn="l"/>
                          <a:tab pos="5127625" algn="l"/>
                          <a:tab pos="5243513" algn="l"/>
                        </a:tabLst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SimSun" panose="02010600030101010101" pitchFamily="2" charset="-122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tabLst>
                          <a:tab pos="736600" algn="l"/>
                          <a:tab pos="1492250" algn="l"/>
                          <a:tab pos="1830388" algn="l"/>
                          <a:tab pos="2311400" algn="l"/>
                          <a:tab pos="3030538" algn="l"/>
                          <a:tab pos="3608388" algn="l"/>
                          <a:tab pos="3724275" algn="l"/>
                          <a:tab pos="3883025" algn="l"/>
                          <a:tab pos="5127625" algn="l"/>
                          <a:tab pos="5243513" algn="l"/>
                        </a:tabLst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SimSun" panose="02010600030101010101" pitchFamily="2" charset="-122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tabLst>
                          <a:tab pos="736600" algn="l"/>
                          <a:tab pos="1492250" algn="l"/>
                          <a:tab pos="1830388" algn="l"/>
                          <a:tab pos="2311400" algn="l"/>
                          <a:tab pos="3030538" algn="l"/>
                          <a:tab pos="3608388" algn="l"/>
                          <a:tab pos="3724275" algn="l"/>
                          <a:tab pos="3883025" algn="l"/>
                          <a:tab pos="5127625" algn="l"/>
                          <a:tab pos="5243513" algn="l"/>
                        </a:tabLst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SimSun" panose="02010600030101010101" pitchFamily="2" charset="-122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736600" algn="l"/>
                          <a:tab pos="1492250" algn="l"/>
                          <a:tab pos="1830388" algn="l"/>
                          <a:tab pos="2311400" algn="l"/>
                          <a:tab pos="3030538" algn="l"/>
                          <a:tab pos="3608388" algn="l"/>
                          <a:tab pos="3724275" algn="l"/>
                          <a:tab pos="3883025" algn="l"/>
                          <a:tab pos="5127625" algn="l"/>
                          <a:tab pos="5243513" algn="l"/>
                        </a:tabLst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SimSun" panose="02010600030101010101" pitchFamily="2" charset="-122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736600" algn="l"/>
                          <a:tab pos="1492250" algn="l"/>
                          <a:tab pos="1830388" algn="l"/>
                          <a:tab pos="2311400" algn="l"/>
                          <a:tab pos="3030538" algn="l"/>
                          <a:tab pos="3608388" algn="l"/>
                          <a:tab pos="3724275" algn="l"/>
                          <a:tab pos="3883025" algn="l"/>
                          <a:tab pos="5127625" algn="l"/>
                          <a:tab pos="5243513" algn="l"/>
                        </a:tabLst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SimSun" panose="02010600030101010101" pitchFamily="2" charset="-122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736600" algn="l"/>
                          <a:tab pos="1492250" algn="l"/>
                          <a:tab pos="1830388" algn="l"/>
                          <a:tab pos="2311400" algn="l"/>
                          <a:tab pos="3030538" algn="l"/>
                          <a:tab pos="3608388" algn="l"/>
                          <a:tab pos="3724275" algn="l"/>
                          <a:tab pos="3883025" algn="l"/>
                          <a:tab pos="5127625" algn="l"/>
                          <a:tab pos="5243513" algn="l"/>
                        </a:tabLst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SimSun" panose="02010600030101010101" pitchFamily="2" charset="-122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736600" algn="l"/>
                          <a:tab pos="1492250" algn="l"/>
                          <a:tab pos="1830388" algn="l"/>
                          <a:tab pos="2311400" algn="l"/>
                          <a:tab pos="3030538" algn="l"/>
                          <a:tab pos="3608388" algn="l"/>
                          <a:tab pos="3724275" algn="l"/>
                          <a:tab pos="3883025" algn="l"/>
                          <a:tab pos="5127625" algn="l"/>
                          <a:tab pos="5243513" algn="l"/>
                        </a:tabLst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SimSun" panose="02010600030101010101" pitchFamily="2" charset="-122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ts val="1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736600" algn="l"/>
                          <a:tab pos="1492250" algn="l"/>
                          <a:tab pos="1830388" algn="l"/>
                          <a:tab pos="2311400" algn="l"/>
                          <a:tab pos="3030538" algn="l"/>
                          <a:tab pos="3608388" algn="l"/>
                          <a:tab pos="3724275" algn="l"/>
                          <a:tab pos="3883025" algn="l"/>
                          <a:tab pos="5127625" algn="l"/>
                          <a:tab pos="5243513" algn="l"/>
                        </a:tabLst>
                      </a:pPr>
                      <a:r>
                        <a:rPr kumimoji="0" lang="ru-RU" altLang="zh-CN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Собственные или заемные средства</a:t>
                      </a:r>
                      <a:endParaRPr kumimoji="0" lang="zh-CN" alt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47667" marR="47667" marT="0" marB="0" anchor="ctr" horzOverflow="overflow">
                    <a:lnL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zh-CN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Указать в процентном соотношении</a:t>
                      </a:r>
                      <a:endParaRPr kumimoji="0" lang="zh-CN" alt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47667" marR="4766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4327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zh-CN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Опыт работы с факторингом</a:t>
                      </a:r>
                      <a:endParaRPr kumimoji="0" lang="en-US" altLang="zh-CN" sz="16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667" marR="47667" marT="0" marB="0" anchor="ctr" horzOverflow="overflow">
                    <a:lnL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chemeClr val="tx1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Microsoft YaHei" panose="020B0503020204020204" pitchFamily="34" charset="-122"/>
                        <a:cs typeface="Calibri" panose="020F0502020204030204" pitchFamily="34" charset="0"/>
                      </a:endParaRPr>
                    </a:p>
                  </a:txBody>
                  <a:tcPr marL="47667" marR="47667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35759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PP_MARK_KEY" val="cc630a69-890b-4968-b5fa-7c62d0d499ee"/>
  <p:tag name="COMMONDATA" val="eyJoZGlkIjoiZWFmZjU2NTNiYWY3Yzk4YzJlYzVkNTllZGY0MDQyZjcifQ==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">
  <a:themeElements>
    <a:clrScheme name="都市">
      <a:dk1>
        <a:sysClr val="windowText" lastClr="000000"/>
      </a:dk1>
      <a:lt1>
        <a:sysClr val="window" lastClr="FFFFFF"/>
      </a:lt1>
      <a:dk2>
        <a:srgbClr val="424456"/>
      </a:dk2>
      <a:lt2>
        <a:srgbClr val="DEDEDE"/>
      </a:lt2>
      <a:accent1>
        <a:srgbClr val="53548A"/>
      </a:accent1>
      <a:accent2>
        <a:srgbClr val="438086"/>
      </a:accent2>
      <a:accent3>
        <a:srgbClr val="A04DA3"/>
      </a:accent3>
      <a:accent4>
        <a:srgbClr val="C4652D"/>
      </a:accent4>
      <a:accent5>
        <a:srgbClr val="8B5D3D"/>
      </a:accent5>
      <a:accent6>
        <a:srgbClr val="5C92B5"/>
      </a:accent6>
      <a:hlink>
        <a:srgbClr val="67AFBD"/>
      </a:hlink>
      <a:folHlink>
        <a:srgbClr val="C2A874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36000" tIns="36000" rIns="36000" bIns="36000" rtlCol="0" anchor="t" anchorCtr="0">
        <a:noAutofit/>
      </a:bodyPr>
      <a:lstStyle>
        <a:defPPr algn="ctr" defTabSz="914400">
          <a:lnSpc>
            <a:spcPct val="150000"/>
          </a:lnSpc>
          <a:spcBef>
            <a:spcPct val="0"/>
          </a:spcBef>
          <a:defRPr sz="2400" b="1" dirty="0" smtClean="0">
            <a:solidFill>
              <a:prstClr val="black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28</TotalTime>
  <Words>1518</Words>
  <Application>Microsoft Office PowerPoint</Application>
  <PresentationFormat>Широкоэкранный</PresentationFormat>
  <Paragraphs>327</Paragraphs>
  <Slides>27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7</vt:i4>
      </vt:variant>
    </vt:vector>
  </HeadingPairs>
  <TitlesOfParts>
    <vt:vector size="37" baseType="lpstr">
      <vt:lpstr>微软雅黑</vt:lpstr>
      <vt:lpstr>微软雅黑</vt:lpstr>
      <vt:lpstr>黑体</vt:lpstr>
      <vt:lpstr>Arial</vt:lpstr>
      <vt:lpstr>Calibri</vt:lpstr>
      <vt:lpstr>Calibri Light</vt:lpstr>
      <vt:lpstr>Modern H Medium</vt:lpstr>
      <vt:lpstr>Wingdings</vt:lpstr>
      <vt:lpstr>Office 主题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ДАННЫЕ ПО СУЩЕСТВУЮЩЕМУ БИЗНЕСУ</vt:lpstr>
      <vt:lpstr>ПРОДАЖИ ДИЛЕРА В ГОРОДЕ</vt:lpstr>
      <vt:lpstr>ДАННЫЕ ПО СУЩЕСТВУЮЩЕМУ БИЗНЕСУ</vt:lpstr>
      <vt:lpstr>ДАННЫЕ ПО СУЩЕСТВУЮЩЕМУ БИЗНЕСУ</vt:lpstr>
      <vt:lpstr>Презентация PowerPoint</vt:lpstr>
      <vt:lpstr>БИЗНЕС-ПЛАН ПОСЛЕПРОДАЖНОЕ ОСЛУЖИВАНИЕ</vt:lpstr>
      <vt:lpstr>БИЗНЕС-ПЛАН МАРКЕТИНГ</vt:lpstr>
      <vt:lpstr>ИНФОРМАЦИЯ О ПРЕДЛОЖЕНИИ</vt:lpstr>
      <vt:lpstr>КАРТА РОССИИ</vt:lpstr>
      <vt:lpstr>Презентация PowerPoint</vt:lpstr>
      <vt:lpstr>КАРТА РАЙОНА</vt:lpstr>
      <vt:lpstr>СХЕМА ГЕНЕРАЛЬНОГО ПЛАНА</vt:lpstr>
      <vt:lpstr>ПЛАНИРОВКА ДЦ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Winston Dai</dc:creator>
  <cp:lastModifiedBy>Харисова Алина</cp:lastModifiedBy>
  <cp:revision>3582</cp:revision>
  <cp:lastPrinted>2022-09-19T11:01:00Z</cp:lastPrinted>
  <dcterms:created xsi:type="dcterms:W3CDTF">2015-05-20T09:23:00Z</dcterms:created>
  <dcterms:modified xsi:type="dcterms:W3CDTF">2025-01-22T10:41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2A7FEAB7B01041ADBC30068AC2251DB7</vt:lpwstr>
  </property>
  <property fmtid="{D5CDD505-2E9C-101B-9397-08002B2CF9AE}" pid="3" name="KSOProductBuildVer">
    <vt:lpwstr>2052-11.1.0.12132</vt:lpwstr>
  </property>
</Properties>
</file>